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>
  <p:sldMasterIdLst>
    <p:sldMasterId id="2147483660" r:id="rId1"/>
  </p:sldMasterIdLst>
  <p:notesMasterIdLst>
    <p:notesMasterId r:id="rId3"/>
  </p:notesMasterIdLst>
  <p:sldIdLst>
    <p:sldId id="27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5005" autoAdjust="0"/>
    <p:restoredTop sz="94660"/>
  </p:normalViewPr>
  <p:slideViewPr>
    <p:cSldViewPr snapToGrid="0">
      <p:cViewPr varScale="1">
        <p:scale>
          <a:sx n="97" d="100"/>
          <a:sy n="97" d="100"/>
        </p:scale>
        <p:origin x="1110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7C9601-F2FF-48CA-8320-5A6D8C6A2931}" type="datetimeFigureOut">
              <a:rPr lang="en-US" smtClean="0"/>
              <a:t>6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EDA0AB-A7F0-45DC-B721-4ADFFED663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8476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BEB781-3D9B-D669-4160-3005DE34EE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1EE375-939A-3F98-CD1D-12BB531C99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F9CA53-3BC0-6312-2F5F-41AE878EE4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6710AC-A431-F3C3-8AC3-CF31377FF4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79B3E7-DBA4-044F-8C80-7322FCE4626A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317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54509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51CBC2-F990-6E6C-C88C-9DA8BBBB44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674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51CBC2-F990-6E6C-C88C-9DA8BBBB44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3DB61F9-80F3-CF4F-AED5-DBB455FF4D55}"/>
              </a:ext>
            </a:extLst>
          </p:cNvPr>
          <p:cNvCxnSpPr>
            <a:cxnSpLocks/>
          </p:cNvCxnSpPr>
          <p:nvPr userDrawn="1"/>
        </p:nvCxnSpPr>
        <p:spPr>
          <a:xfrm>
            <a:off x="1772356" y="6227466"/>
            <a:ext cx="96759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" name="صورة 19">
            <a:extLst>
              <a:ext uri="{FF2B5EF4-FFF2-40B4-BE49-F238E27FC236}">
                <a16:creationId xmlns:a16="http://schemas.microsoft.com/office/drawing/2014/main" id="{5A6E5EBF-60BD-E047-AE94-ABB59BB2255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851" y="5994780"/>
            <a:ext cx="1007327" cy="465372"/>
          </a:xfrm>
          <a:prstGeom prst="rect">
            <a:avLst/>
          </a:prstGeom>
        </p:spPr>
      </p:pic>
      <p:sp>
        <p:nvSpPr>
          <p:cNvPr id="2" name="Title 2">
            <a:extLst>
              <a:ext uri="{FF2B5EF4-FFF2-40B4-BE49-F238E27FC236}">
                <a16:creationId xmlns:a16="http://schemas.microsoft.com/office/drawing/2014/main" id="{B00D1E0D-7F68-DF6F-6E6E-B74F441A906F}"/>
              </a:ext>
            </a:extLst>
          </p:cNvPr>
          <p:cNvSpPr txBox="1">
            <a:spLocks/>
          </p:cNvSpPr>
          <p:nvPr userDrawn="1"/>
        </p:nvSpPr>
        <p:spPr>
          <a:xfrm>
            <a:off x="899525" y="535850"/>
            <a:ext cx="10712624" cy="646384"/>
          </a:xfrm>
          <a:prstGeom prst="rect">
            <a:avLst/>
          </a:prstGeom>
        </p:spPr>
        <p:txBody>
          <a:bodyPr vert="horz" lIns="180857" tIns="90429" rIns="180857" bIns="90429" rtlCol="1" anchor="ctr">
            <a:normAutofit/>
          </a:bodyPr>
          <a:lstStyle>
            <a:lvl1pPr algn="ct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i="0" kern="1200">
                <a:solidFill>
                  <a:schemeClr val="tx1"/>
                </a:solidFill>
                <a:latin typeface="TheSans" panose="020B0503040302020203" pitchFamily="34" charset="-78"/>
                <a:ea typeface="+mj-ea"/>
                <a:cs typeface="TheSans" panose="020B0503040302020203" pitchFamily="34" charset="-78"/>
              </a:defRPr>
            </a:lvl1pPr>
          </a:lstStyle>
          <a:p>
            <a:pPr algn="l"/>
            <a:endParaRPr lang="ar-AE" sz="2800">
              <a:solidFill>
                <a:srgbClr val="203764"/>
              </a:solidFill>
              <a:latin typeface="HelveticaNeueLT Arabic 55 Roman" panose="020B0604020202020204" pitchFamily="34" charset="-7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066893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PSR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63EA24-1070-4E82-A488-9602071B43A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094" y="974042"/>
            <a:ext cx="11157817" cy="231007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67" b="0" baseline="0">
                <a:solidFill>
                  <a:schemeClr val="bg1">
                    <a:lumMod val="50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609418" indent="0">
              <a:buNone/>
              <a:defRPr sz="1600"/>
            </a:lvl2pPr>
            <a:lvl3pPr marL="1218834" indent="0">
              <a:buNone/>
              <a:defRPr sz="1333"/>
            </a:lvl3pPr>
            <a:lvl4pPr marL="1828252" indent="0">
              <a:buNone/>
              <a:defRPr sz="1200"/>
            </a:lvl4pPr>
            <a:lvl5pPr marL="2437669" indent="0">
              <a:buNone/>
              <a:defRPr sz="1200"/>
            </a:lvl5pPr>
            <a:lvl6pPr marL="3047086" indent="0">
              <a:buNone/>
              <a:defRPr sz="1200"/>
            </a:lvl6pPr>
            <a:lvl7pPr marL="3656503" indent="0">
              <a:buNone/>
              <a:defRPr sz="1200"/>
            </a:lvl7pPr>
            <a:lvl8pPr marL="4265921" indent="0">
              <a:buNone/>
              <a:defRPr sz="1200"/>
            </a:lvl8pPr>
            <a:lvl9pPr marL="4875338" indent="0">
              <a:buNone/>
              <a:defRPr sz="12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8D52763A-35B3-4322-804B-F36A2A864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094" y="376817"/>
            <a:ext cx="11157817" cy="54594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3732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8749965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801D8-CB2E-54A2-BE68-03AEE90A0D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EA6B377-3D5B-3BE1-1680-63F18B3B61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86" indent="0" algn="ctr">
              <a:buNone/>
              <a:defRPr sz="2000"/>
            </a:lvl2pPr>
            <a:lvl3pPr marL="914172" indent="0" algn="ctr">
              <a:buNone/>
              <a:defRPr sz="1800"/>
            </a:lvl3pPr>
            <a:lvl4pPr marL="1371257" indent="0" algn="ctr">
              <a:buNone/>
              <a:defRPr sz="1600"/>
            </a:lvl4pPr>
            <a:lvl5pPr marL="1828343" indent="0" algn="ctr">
              <a:buNone/>
              <a:defRPr sz="1600"/>
            </a:lvl5pPr>
            <a:lvl6pPr marL="2285429" indent="0" algn="ctr">
              <a:buNone/>
              <a:defRPr sz="1600"/>
            </a:lvl6pPr>
            <a:lvl7pPr marL="2742514" indent="0" algn="ctr">
              <a:buNone/>
              <a:defRPr sz="1600"/>
            </a:lvl7pPr>
            <a:lvl8pPr marL="3199600" indent="0" algn="ctr">
              <a:buNone/>
              <a:defRPr sz="1600"/>
            </a:lvl8pPr>
            <a:lvl9pPr marL="365668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6BA837-B682-8700-D947-317455FCA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172">
              <a:buClr>
                <a:srgbClr val="000000"/>
              </a:buClr>
              <a:defRPr/>
            </a:pPr>
            <a:fld id="{A5687259-259E-9941-BF1B-094C747FAD5F}" type="datetimeFigureOut">
              <a:rPr lang="en-US" sz="1400" kern="0" smtClean="0">
                <a:solidFill>
                  <a:srgbClr val="000000"/>
                </a:solidFill>
                <a:cs typeface="Arial"/>
                <a:sym typeface="Arial"/>
              </a:rPr>
              <a:pPr defTabSz="914172">
                <a:buClr>
                  <a:srgbClr val="000000"/>
                </a:buClr>
                <a:defRPr/>
              </a:pPr>
              <a:t>6/14/2025</a:t>
            </a:fld>
            <a:endParaRPr lang="en-US" sz="1400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75C41A-6B3A-6B17-1B67-73F3C7C61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172">
              <a:buClr>
                <a:srgbClr val="000000"/>
              </a:buClr>
              <a:defRPr/>
            </a:pPr>
            <a:endParaRPr lang="en-US" sz="1400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FD328A-8B66-15DE-5DDE-513154A1A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172">
              <a:buClr>
                <a:srgbClr val="000000"/>
              </a:buClr>
              <a:defRPr/>
            </a:pPr>
            <a:fld id="{00000000-1234-1234-1234-123412341234}" type="slidenum">
              <a:rPr lang="en-US" sz="1400" kern="0" smtClean="0">
                <a:solidFill>
                  <a:srgbClr val="000000"/>
                </a:solidFill>
                <a:cs typeface="Arial"/>
                <a:sym typeface="Arial"/>
              </a:rPr>
              <a:pPr defTabSz="914172">
                <a:buClr>
                  <a:srgbClr val="000000"/>
                </a:buClr>
                <a:defRPr/>
              </a:pPr>
              <a:t>‹#›</a:t>
            </a:fld>
            <a:endParaRPr lang="en-US" sz="14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9656966"/>
      </p:ext>
    </p:extLst>
  </p:cSld>
  <p:clrMapOvr>
    <a:masterClrMapping/>
  </p:clrMapOvr>
  <p:transition spd="slow">
    <p:push dir="u"/>
  </p:transition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3DB61F9-80F3-CF4F-AED5-DBB455FF4D55}"/>
              </a:ext>
            </a:extLst>
          </p:cNvPr>
          <p:cNvCxnSpPr>
            <a:cxnSpLocks/>
          </p:cNvCxnSpPr>
          <p:nvPr userDrawn="1"/>
        </p:nvCxnSpPr>
        <p:spPr>
          <a:xfrm>
            <a:off x="3172178" y="6227466"/>
            <a:ext cx="827611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" name="صورة 19">
            <a:extLst>
              <a:ext uri="{FF2B5EF4-FFF2-40B4-BE49-F238E27FC236}">
                <a16:creationId xmlns:a16="http://schemas.microsoft.com/office/drawing/2014/main" id="{5A6E5EBF-60BD-E047-AE94-ABB59BB225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851" y="5994780"/>
            <a:ext cx="1007327" cy="465372"/>
          </a:xfrm>
          <a:prstGeom prst="rect">
            <a:avLst/>
          </a:prstGeom>
        </p:spPr>
      </p:pic>
      <p:cxnSp>
        <p:nvCxnSpPr>
          <p:cNvPr id="5" name="موصل مستقيم 21">
            <a:extLst>
              <a:ext uri="{FF2B5EF4-FFF2-40B4-BE49-F238E27FC236}">
                <a16:creationId xmlns:a16="http://schemas.microsoft.com/office/drawing/2014/main" id="{3D36074D-65C9-C749-9AB1-61A48ADE98AC}"/>
              </a:ext>
            </a:extLst>
          </p:cNvPr>
          <p:cNvCxnSpPr>
            <a:cxnSpLocks/>
          </p:cNvCxnSpPr>
          <p:nvPr userDrawn="1"/>
        </p:nvCxnSpPr>
        <p:spPr>
          <a:xfrm flipV="1">
            <a:off x="1813602" y="5994780"/>
            <a:ext cx="0" cy="465372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صورة 10">
            <a:extLst>
              <a:ext uri="{FF2B5EF4-FFF2-40B4-BE49-F238E27FC236}">
                <a16:creationId xmlns:a16="http://schemas.microsoft.com/office/drawing/2014/main" id="{F84D8E97-DFAE-B64F-8116-362F0D61A3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934421" y="5944160"/>
            <a:ext cx="1098239" cy="515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414154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3DB61F9-80F3-CF4F-AED5-DBB455FF4D55}"/>
              </a:ext>
            </a:extLst>
          </p:cNvPr>
          <p:cNvCxnSpPr>
            <a:cxnSpLocks/>
          </p:cNvCxnSpPr>
          <p:nvPr userDrawn="1"/>
        </p:nvCxnSpPr>
        <p:spPr>
          <a:xfrm>
            <a:off x="1772356" y="6227466"/>
            <a:ext cx="96759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A2A70D6-6907-4E6C-B460-DDAF984A6573}"/>
              </a:ext>
            </a:extLst>
          </p:cNvPr>
          <p:cNvCxnSpPr>
            <a:cxnSpLocks/>
          </p:cNvCxnSpPr>
          <p:nvPr userDrawn="1"/>
        </p:nvCxnSpPr>
        <p:spPr>
          <a:xfrm>
            <a:off x="914401" y="6227466"/>
            <a:ext cx="10533888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9" name="صورة 19">
            <a:extLst>
              <a:ext uri="{FF2B5EF4-FFF2-40B4-BE49-F238E27FC236}">
                <a16:creationId xmlns:a16="http://schemas.microsoft.com/office/drawing/2014/main" id="{8A04C4DA-4980-44EA-ACD7-8345358E6C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2" y="6227466"/>
            <a:ext cx="1007327" cy="465372"/>
          </a:xfrm>
          <a:prstGeom prst="rect">
            <a:avLst/>
          </a:prstGeom>
        </p:spPr>
      </p:pic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4514C060-6340-40F2-98B7-C9640523E6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2" y="1043611"/>
            <a:ext cx="10533887" cy="3603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4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of the slide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37153473-C7B6-454B-978C-27157A1029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1728" y="6247345"/>
            <a:ext cx="9526560" cy="1832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600" b="0" i="1" kern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&lt;Footnotes&gt;&gt;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3D51F7E-1BD3-4CB0-829C-C3F02016A3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1" y="1463593"/>
            <a:ext cx="10533887" cy="4743996"/>
          </a:xfrm>
          <a:prstGeom prst="rect">
            <a:avLst/>
          </a:prstGeom>
        </p:spPr>
        <p:txBody>
          <a:bodyPr/>
          <a:lstStyle>
            <a:lvl1pPr marL="285679" indent="-285679">
              <a:buFont typeface="Arial" panose="020B0604020202020204" pitchFamily="34" charset="0"/>
              <a:buChar char="•"/>
              <a:defRPr lang="en-US" sz="1400" b="0" kern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evel 1 – Font size 12</a:t>
            </a:r>
          </a:p>
          <a:p>
            <a:pPr lvl="0"/>
            <a:r>
              <a:rPr lang="en-US"/>
              <a:t>Level 2 – Font size 10</a:t>
            </a:r>
          </a:p>
          <a:p>
            <a:pPr lvl="0"/>
            <a:r>
              <a:rPr lang="en-US"/>
              <a:t>All content inside this canvas only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62785C49-2A46-4B48-B874-A2B088956E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99984" y="1"/>
            <a:ext cx="2392017" cy="2694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800" b="0" i="1" kern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vigator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D16AECDD-4EB4-44DE-A0F4-B1852FFAE5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402" y="333573"/>
            <a:ext cx="10533887" cy="6504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203764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 2 line heading with the insight from the slide; should never be 3 line; avoid use of split headings across 2 slides</a:t>
            </a:r>
          </a:p>
        </p:txBody>
      </p:sp>
    </p:spTree>
    <p:extLst>
      <p:ext uri="{BB962C8B-B14F-4D97-AF65-F5344CB8AC3E}">
        <p14:creationId xmlns:p14="http://schemas.microsoft.com/office/powerpoint/2010/main" val="152903480"/>
      </p:ext>
    </p:extLst>
  </p:cSld>
  <p:clrMapOvr>
    <a:masterClrMapping/>
  </p:clrMapOvr>
  <p:transition spd="slow">
    <p:push dir="u"/>
  </p:transition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63C5869-876D-4E64-9A2D-C5DCE8D557A7}"/>
              </a:ext>
            </a:extLst>
          </p:cNvPr>
          <p:cNvSpPr/>
          <p:nvPr userDrawn="1"/>
        </p:nvSpPr>
        <p:spPr>
          <a:xfrm>
            <a:off x="-556352" y="1185322"/>
            <a:ext cx="341523" cy="36034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7D0BA40-55E8-4AB3-AF46-25057FC71CAA}"/>
              </a:ext>
            </a:extLst>
          </p:cNvPr>
          <p:cNvSpPr/>
          <p:nvPr userDrawn="1"/>
        </p:nvSpPr>
        <p:spPr>
          <a:xfrm>
            <a:off x="-556352" y="704870"/>
            <a:ext cx="341523" cy="36034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FCA2C3-7419-46C3-BAFB-12CA2A3D027F}"/>
              </a:ext>
            </a:extLst>
          </p:cNvPr>
          <p:cNvSpPr/>
          <p:nvPr userDrawn="1"/>
        </p:nvSpPr>
        <p:spPr>
          <a:xfrm>
            <a:off x="-556352" y="3107130"/>
            <a:ext cx="341523" cy="360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9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4C6C31A-7476-4D57-BD7F-22B7FADAA483}"/>
              </a:ext>
            </a:extLst>
          </p:cNvPr>
          <p:cNvSpPr/>
          <p:nvPr userDrawn="1"/>
        </p:nvSpPr>
        <p:spPr>
          <a:xfrm>
            <a:off x="-556352" y="1665774"/>
            <a:ext cx="341523" cy="360344"/>
          </a:xfrm>
          <a:prstGeom prst="rect">
            <a:avLst/>
          </a:prstGeom>
          <a:solidFill>
            <a:schemeClr val="accent5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9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FA579D-A5AE-4C05-B7AA-F41B1B65B976}"/>
              </a:ext>
            </a:extLst>
          </p:cNvPr>
          <p:cNvSpPr/>
          <p:nvPr userDrawn="1"/>
        </p:nvSpPr>
        <p:spPr>
          <a:xfrm>
            <a:off x="-556352" y="2146226"/>
            <a:ext cx="341523" cy="36034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9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7EBC197-6198-400C-B2C3-7EB1E5B656B4}"/>
              </a:ext>
            </a:extLst>
          </p:cNvPr>
          <p:cNvSpPr/>
          <p:nvPr userDrawn="1"/>
        </p:nvSpPr>
        <p:spPr>
          <a:xfrm>
            <a:off x="-556352" y="2626678"/>
            <a:ext cx="341523" cy="36034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9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F2706D-732A-4DA2-8820-EBF8CFA3C1A1}"/>
              </a:ext>
            </a:extLst>
          </p:cNvPr>
          <p:cNvSpPr/>
          <p:nvPr userDrawn="1"/>
        </p:nvSpPr>
        <p:spPr>
          <a:xfrm>
            <a:off x="-556352" y="3587584"/>
            <a:ext cx="341523" cy="360344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9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A433C29-6342-4DDB-BF83-A812F602E373}"/>
              </a:ext>
            </a:extLst>
          </p:cNvPr>
          <p:cNvCxnSpPr>
            <a:cxnSpLocks/>
          </p:cNvCxnSpPr>
          <p:nvPr userDrawn="1"/>
        </p:nvCxnSpPr>
        <p:spPr>
          <a:xfrm>
            <a:off x="1772356" y="6227466"/>
            <a:ext cx="967593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itle 2">
            <a:extLst>
              <a:ext uri="{FF2B5EF4-FFF2-40B4-BE49-F238E27FC236}">
                <a16:creationId xmlns:a16="http://schemas.microsoft.com/office/drawing/2014/main" id="{AC84C8E9-5027-41CA-A373-D9352B580AAD}"/>
              </a:ext>
            </a:extLst>
          </p:cNvPr>
          <p:cNvSpPr txBox="1">
            <a:spLocks/>
          </p:cNvSpPr>
          <p:nvPr userDrawn="1"/>
        </p:nvSpPr>
        <p:spPr>
          <a:xfrm>
            <a:off x="899525" y="535850"/>
            <a:ext cx="10712624" cy="646384"/>
          </a:xfrm>
          <a:prstGeom prst="rect">
            <a:avLst/>
          </a:prstGeom>
        </p:spPr>
        <p:txBody>
          <a:bodyPr vert="horz" lIns="180857" tIns="90429" rIns="180857" bIns="90429" rtlCol="1" anchor="ctr">
            <a:normAutofit/>
          </a:bodyPr>
          <a:lstStyle>
            <a:lvl1pPr algn="ct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i="0" kern="1200">
                <a:solidFill>
                  <a:schemeClr val="tx1"/>
                </a:solidFill>
                <a:latin typeface="TheSans" panose="020B0503040302020203" pitchFamily="34" charset="-78"/>
                <a:ea typeface="+mj-ea"/>
                <a:cs typeface="TheSans" panose="020B0503040302020203" pitchFamily="34" charset="-78"/>
              </a:defRPr>
            </a:lvl1pPr>
          </a:lstStyle>
          <a:p>
            <a:pPr algn="l"/>
            <a:endParaRPr lang="ar-AE" sz="2800">
              <a:solidFill>
                <a:srgbClr val="203764"/>
              </a:solidFill>
              <a:latin typeface="HelveticaNeueLT Arabic 55 Roman" panose="020B0604020202020204" pitchFamily="34" charset="-78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63066E9-8054-4A29-84AD-DB2CDA4C9154}"/>
              </a:ext>
            </a:extLst>
          </p:cNvPr>
          <p:cNvCxnSpPr>
            <a:cxnSpLocks/>
          </p:cNvCxnSpPr>
          <p:nvPr userDrawn="1"/>
        </p:nvCxnSpPr>
        <p:spPr>
          <a:xfrm>
            <a:off x="914401" y="6227466"/>
            <a:ext cx="10533888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2" name="صورة 19">
            <a:extLst>
              <a:ext uri="{FF2B5EF4-FFF2-40B4-BE49-F238E27FC236}">
                <a16:creationId xmlns:a16="http://schemas.microsoft.com/office/drawing/2014/main" id="{6927A4A0-C39B-46D3-9938-BB1AE59BD1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2" y="6227466"/>
            <a:ext cx="1007327" cy="465372"/>
          </a:xfrm>
          <a:prstGeom prst="rect">
            <a:avLst/>
          </a:prstGeom>
        </p:spPr>
      </p:pic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70C4B769-44B8-4834-B977-A29D8B2C47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402" y="333573"/>
            <a:ext cx="10533887" cy="6504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203764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 2 line heading with the insight from the slide; should never be 3 line; avoid use of split headings across 2 slides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445ACA7-5858-4F7C-B535-92E08E22BE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2" y="1043611"/>
            <a:ext cx="10533887" cy="3603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4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of the slid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4DCEF5B-A15A-441C-BF18-992C5DBABA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401" y="1463593"/>
            <a:ext cx="10533887" cy="4743996"/>
          </a:xfrm>
          <a:prstGeom prst="rect">
            <a:avLst/>
          </a:prstGeom>
        </p:spPr>
        <p:txBody>
          <a:bodyPr/>
          <a:lstStyle>
            <a:lvl1pPr marL="285679" indent="-285679">
              <a:buFont typeface="Arial" panose="020B0604020202020204" pitchFamily="34" charset="0"/>
              <a:buChar char="•"/>
              <a:defRPr lang="en-US" sz="1400" b="0" kern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evel 1 – Font size 12</a:t>
            </a:r>
          </a:p>
          <a:p>
            <a:pPr lvl="0"/>
            <a:r>
              <a:rPr lang="en-US"/>
              <a:t>Level 2 – Font size 10</a:t>
            </a:r>
          </a:p>
          <a:p>
            <a:pPr lvl="0"/>
            <a:r>
              <a:rPr lang="en-US"/>
              <a:t>All content inside this canvas only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4828210E-F705-4D78-99DF-1FF62101BE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1728" y="6247345"/>
            <a:ext cx="9526560" cy="1832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600" b="0" i="1" kern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&lt;Footnotes&gt;&gt;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E8E98D27-D8FE-41CE-A1D7-86C8F6902E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99984" y="1"/>
            <a:ext cx="2392017" cy="2694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800" b="0" i="1" kern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vigator</a:t>
            </a:r>
          </a:p>
        </p:txBody>
      </p:sp>
    </p:spTree>
    <p:extLst>
      <p:ext uri="{BB962C8B-B14F-4D97-AF65-F5344CB8AC3E}">
        <p14:creationId xmlns:p14="http://schemas.microsoft.com/office/powerpoint/2010/main" val="2965887012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>
            <a:off x="1160145" y="6483512"/>
            <a:ext cx="1330492" cy="1108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US" sz="800">
                <a:solidFill>
                  <a:srgbClr val="8C8C8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rPr>
              <a:t>SDAIA_GCBPR_Oct_2023_V0.3-3pptx.pptx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8EDD938E-4E4D-4BDE-9232-EB0787E5933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677401" y="6461969"/>
            <a:ext cx="1482051" cy="1538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091735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. Title and Text">
  <p:cSld name="D. Title and Tex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g18cb8070a62_0_428"/>
          <p:cNvSpPr txBox="1">
            <a:spLocks noGrp="1"/>
          </p:cNvSpPr>
          <p:nvPr>
            <p:ph type="sldNum" idx="12"/>
          </p:nvPr>
        </p:nvSpPr>
        <p:spPr>
          <a:xfrm>
            <a:off x="11334452" y="6399275"/>
            <a:ext cx="541800" cy="39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527684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شريحة عنوان">
  <p:cSld name="شريحة عنوان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g1e53dcadb4c_1_83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261455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1402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>
            <a:noFill/>
          </a:ln>
        </p:spPr>
        <p:txBody>
          <a:bodyPr tIns="0" bIns="182880" anchor="b"/>
          <a:lstStyle>
            <a:lvl1pPr algn="ctr">
              <a:buNone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2612393577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>
            <a:noFill/>
          </a:ln>
        </p:spPr>
        <p:txBody>
          <a:bodyPr lIns="0" tIns="91440" rIns="0" bIns="1463040" anchor="b"/>
          <a:lstStyle>
            <a:lvl1pPr algn="ctr" rtl="0">
              <a:buNone/>
              <a:defRPr sz="18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1636045699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7F519D1-B1D8-0210-E30D-8EC65FC070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92018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F519D1-B1D8-0210-E30D-8EC65FC070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01910B7E-0A46-CD40-9095-EE97AA4D797F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-13062" y="0"/>
            <a:ext cx="12266022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B64C198-9AF7-A23D-0D15-2096C1FD52EB}"/>
              </a:ext>
            </a:extLst>
          </p:cNvPr>
          <p:cNvSpPr txBox="1"/>
          <p:nvPr userDrawn="1"/>
        </p:nvSpPr>
        <p:spPr>
          <a:xfrm>
            <a:off x="11012557" y="6489969"/>
            <a:ext cx="5367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426800A-BDAB-4C4C-B7A7-DDC223214F4D}" type="slidenum">
              <a:rPr lang="en-US" sz="800" smtClean="0">
                <a:solidFill>
                  <a:schemeClr val="bg1">
                    <a:lumMod val="50000"/>
                  </a:schemeClr>
                </a:solidFill>
              </a:rPr>
              <a:pPr algn="r"/>
              <a:t>‹#›</a:t>
            </a:fld>
            <a:endParaRPr lang="en-US" sz="8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943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 spd="slow">
    <p:push dir="u"/>
  </p:transition>
  <p:hf hdr="0" ftr="0" dt="0"/>
  <p:txStyles>
    <p:titleStyle>
      <a:lvl1pPr algn="l" defTabSz="914172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43" indent="-228543" algn="l" defTabSz="91417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29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15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00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886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72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SA"/>
      </a:defPPr>
      <a:lvl1pPr marL="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2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jpeg"/><Relationship Id="rId7" Type="http://schemas.microsoft.com/office/2007/relationships/hdphoto" Target="../media/hdphoto2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microsoft.com/office/2007/relationships/hdphoto" Target="../media/hdphoto1.wdp"/><Relationship Id="rId4" Type="http://schemas.openxmlformats.org/officeDocument/2006/relationships/image" Target="../media/image7.png"/><Relationship Id="rId9" Type="http://schemas.microsoft.com/office/2007/relationships/hdphoto" Target="../media/hdphoto3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1B59CC-F02A-713D-0A49-29932BE6E2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Rectangle: Rounded Corners 325">
            <a:extLst>
              <a:ext uri="{FF2B5EF4-FFF2-40B4-BE49-F238E27FC236}">
                <a16:creationId xmlns:a16="http://schemas.microsoft.com/office/drawing/2014/main" id="{8B985117-8E94-5663-0E9B-7194A9A475FD}"/>
              </a:ext>
            </a:extLst>
          </p:cNvPr>
          <p:cNvSpPr/>
          <p:nvPr/>
        </p:nvSpPr>
        <p:spPr>
          <a:xfrm>
            <a:off x="152491" y="1409178"/>
            <a:ext cx="11887017" cy="1691647"/>
          </a:xfrm>
          <a:prstGeom prst="roundRect">
            <a:avLst>
              <a:gd name="adj" fmla="val 7576"/>
            </a:avLst>
          </a:prstGeom>
          <a:blipFill dpi="0" rotWithShape="1">
            <a:blip r:embed="rId3" cstate="email">
              <a:grayscl/>
              <a:alphaModFix amt="3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9" name="Freeform: Shape 735">
            <a:extLst>
              <a:ext uri="{FF2B5EF4-FFF2-40B4-BE49-F238E27FC236}">
                <a16:creationId xmlns:a16="http://schemas.microsoft.com/office/drawing/2014/main" id="{6C7142DD-D9B2-4F2A-C3B1-E9A5C1A51D7C}"/>
              </a:ext>
            </a:extLst>
          </p:cNvPr>
          <p:cNvSpPr/>
          <p:nvPr/>
        </p:nvSpPr>
        <p:spPr>
          <a:xfrm rot="10800000" flipV="1">
            <a:off x="8200659" y="3608703"/>
            <a:ext cx="3949744" cy="3249297"/>
          </a:xfrm>
          <a:custGeom>
            <a:avLst/>
            <a:gdLst>
              <a:gd name="connsiteX0" fmla="*/ 95 w 1933575"/>
              <a:gd name="connsiteY0" fmla="*/ 1400658 h 1590675"/>
              <a:gd name="connsiteX1" fmla="*/ 95 w 1933575"/>
              <a:gd name="connsiteY1" fmla="*/ 1590492 h 1590675"/>
              <a:gd name="connsiteX2" fmla="*/ 549783 w 1933575"/>
              <a:gd name="connsiteY2" fmla="*/ 1590492 h 1590675"/>
              <a:gd name="connsiteX3" fmla="*/ 538639 w 1933575"/>
              <a:gd name="connsiteY3" fmla="*/ 1575347 h 1590675"/>
              <a:gd name="connsiteX4" fmla="*/ 555593 w 1933575"/>
              <a:gd name="connsiteY4" fmla="*/ 1562869 h 1590675"/>
              <a:gd name="connsiteX5" fmla="*/ 567976 w 1933575"/>
              <a:gd name="connsiteY5" fmla="*/ 1580490 h 1590675"/>
              <a:gd name="connsiteX6" fmla="*/ 552831 w 1933575"/>
              <a:gd name="connsiteY6" fmla="*/ 1590396 h 1590675"/>
              <a:gd name="connsiteX7" fmla="*/ 617315 w 1933575"/>
              <a:gd name="connsiteY7" fmla="*/ 1590396 h 1590675"/>
              <a:gd name="connsiteX8" fmla="*/ 616363 w 1933575"/>
              <a:gd name="connsiteY8" fmla="*/ 1589158 h 1590675"/>
              <a:gd name="connsiteX9" fmla="*/ 633317 w 1933575"/>
              <a:gd name="connsiteY9" fmla="*/ 1577442 h 1590675"/>
              <a:gd name="connsiteX10" fmla="*/ 643128 w 1933575"/>
              <a:gd name="connsiteY10" fmla="*/ 1590396 h 1590675"/>
              <a:gd name="connsiteX11" fmla="*/ 709422 w 1933575"/>
              <a:gd name="connsiteY11" fmla="*/ 1590396 h 1590675"/>
              <a:gd name="connsiteX12" fmla="*/ 712470 w 1933575"/>
              <a:gd name="connsiteY12" fmla="*/ 1588110 h 1590675"/>
              <a:gd name="connsiteX13" fmla="*/ 714089 w 1933575"/>
              <a:gd name="connsiteY13" fmla="*/ 1590396 h 1590675"/>
              <a:gd name="connsiteX14" fmla="*/ 955262 w 1933575"/>
              <a:gd name="connsiteY14" fmla="*/ 1590396 h 1590675"/>
              <a:gd name="connsiteX15" fmla="*/ 937355 w 1933575"/>
              <a:gd name="connsiteY15" fmla="*/ 1564964 h 1590675"/>
              <a:gd name="connsiteX16" fmla="*/ 966788 w 1933575"/>
              <a:gd name="connsiteY16" fmla="*/ 1543247 h 1590675"/>
              <a:gd name="connsiteX17" fmla="*/ 989171 w 1933575"/>
              <a:gd name="connsiteY17" fmla="*/ 1574775 h 1590675"/>
              <a:gd name="connsiteX18" fmla="*/ 963263 w 1933575"/>
              <a:gd name="connsiteY18" fmla="*/ 1590396 h 1590675"/>
              <a:gd name="connsiteX19" fmla="*/ 1022604 w 1933575"/>
              <a:gd name="connsiteY19" fmla="*/ 1590396 h 1590675"/>
              <a:gd name="connsiteX20" fmla="*/ 1014317 w 1933575"/>
              <a:gd name="connsiteY20" fmla="*/ 1579062 h 1590675"/>
              <a:gd name="connsiteX21" fmla="*/ 1047464 w 1933575"/>
              <a:gd name="connsiteY21" fmla="*/ 1554868 h 1590675"/>
              <a:gd name="connsiteX22" fmla="*/ 1066514 w 1933575"/>
              <a:gd name="connsiteY22" fmla="*/ 1586872 h 1590675"/>
              <a:gd name="connsiteX23" fmla="*/ 1061752 w 1933575"/>
              <a:gd name="connsiteY23" fmla="*/ 1590396 h 1590675"/>
              <a:gd name="connsiteX24" fmla="*/ 1098233 w 1933575"/>
              <a:gd name="connsiteY24" fmla="*/ 1590396 h 1590675"/>
              <a:gd name="connsiteX25" fmla="*/ 1127189 w 1933575"/>
              <a:gd name="connsiteY25" fmla="*/ 1567346 h 1590675"/>
              <a:gd name="connsiteX26" fmla="*/ 1136809 w 1933575"/>
              <a:gd name="connsiteY26" fmla="*/ 1590396 h 1590675"/>
              <a:gd name="connsiteX27" fmla="*/ 1193197 w 1933575"/>
              <a:gd name="connsiteY27" fmla="*/ 1590396 h 1590675"/>
              <a:gd name="connsiteX28" fmla="*/ 1201103 w 1933575"/>
              <a:gd name="connsiteY28" fmla="*/ 1576966 h 1590675"/>
              <a:gd name="connsiteX29" fmla="*/ 1183767 w 1933575"/>
              <a:gd name="connsiteY29" fmla="*/ 1533246 h 1590675"/>
              <a:gd name="connsiteX30" fmla="*/ 1152620 w 1933575"/>
              <a:gd name="connsiteY30" fmla="*/ 1530484 h 1590675"/>
              <a:gd name="connsiteX31" fmla="*/ 1127474 w 1933575"/>
              <a:gd name="connsiteY31" fmla="*/ 1548867 h 1590675"/>
              <a:gd name="connsiteX32" fmla="*/ 1092422 w 1933575"/>
              <a:gd name="connsiteY32" fmla="*/ 1512672 h 1590675"/>
              <a:gd name="connsiteX33" fmla="*/ 1049084 w 1933575"/>
              <a:gd name="connsiteY33" fmla="*/ 1542200 h 1590675"/>
              <a:gd name="connsiteX34" fmla="*/ 1022509 w 1933575"/>
              <a:gd name="connsiteY34" fmla="*/ 1498099 h 1590675"/>
              <a:gd name="connsiteX35" fmla="*/ 1062133 w 1933575"/>
              <a:gd name="connsiteY35" fmla="*/ 1460094 h 1590675"/>
              <a:gd name="connsiteX36" fmla="*/ 1036987 w 1933575"/>
              <a:gd name="connsiteY36" fmla="*/ 1421423 h 1590675"/>
              <a:gd name="connsiteX37" fmla="*/ 1005840 w 1933575"/>
              <a:gd name="connsiteY37" fmla="*/ 1423042 h 1590675"/>
              <a:gd name="connsiteX38" fmla="*/ 983552 w 1933575"/>
              <a:gd name="connsiteY38" fmla="*/ 1442949 h 1590675"/>
              <a:gd name="connsiteX39" fmla="*/ 957358 w 1933575"/>
              <a:gd name="connsiteY39" fmla="*/ 1404183 h 1590675"/>
              <a:gd name="connsiteX40" fmla="*/ 965740 w 1933575"/>
              <a:gd name="connsiteY40" fmla="*/ 1402278 h 1590675"/>
              <a:gd name="connsiteX41" fmla="*/ 997077 w 1933575"/>
              <a:gd name="connsiteY41" fmla="*/ 1367702 h 1590675"/>
              <a:gd name="connsiteX42" fmla="*/ 972122 w 1933575"/>
              <a:gd name="connsiteY42" fmla="*/ 1326935 h 1590675"/>
              <a:gd name="connsiteX43" fmla="*/ 966026 w 1933575"/>
              <a:gd name="connsiteY43" fmla="*/ 1323696 h 1590675"/>
              <a:gd name="connsiteX44" fmla="*/ 966502 w 1933575"/>
              <a:gd name="connsiteY44" fmla="*/ 1323982 h 1590675"/>
              <a:gd name="connsiteX45" fmla="*/ 918782 w 1933575"/>
              <a:gd name="connsiteY45" fmla="*/ 1353605 h 1590675"/>
              <a:gd name="connsiteX46" fmla="*/ 889635 w 1933575"/>
              <a:gd name="connsiteY46" fmla="*/ 1310171 h 1590675"/>
              <a:gd name="connsiteX47" fmla="*/ 932212 w 1933575"/>
              <a:gd name="connsiteY47" fmla="*/ 1277976 h 1590675"/>
              <a:gd name="connsiteX48" fmla="*/ 931354 w 1933575"/>
              <a:gd name="connsiteY48" fmla="*/ 1278738 h 1590675"/>
              <a:gd name="connsiteX49" fmla="*/ 908209 w 1933575"/>
              <a:gd name="connsiteY49" fmla="*/ 1234161 h 1590675"/>
              <a:gd name="connsiteX50" fmla="*/ 855059 w 1933575"/>
              <a:gd name="connsiteY50" fmla="*/ 1254164 h 1590675"/>
              <a:gd name="connsiteX51" fmla="*/ 834390 w 1933575"/>
              <a:gd name="connsiteY51" fmla="*/ 1217873 h 1590675"/>
              <a:gd name="connsiteX52" fmla="*/ 865251 w 1933575"/>
              <a:gd name="connsiteY52" fmla="*/ 1189775 h 1590675"/>
              <a:gd name="connsiteX53" fmla="*/ 839629 w 1933575"/>
              <a:gd name="connsiteY53" fmla="*/ 1142055 h 1590675"/>
              <a:gd name="connsiteX54" fmla="*/ 787051 w 1933575"/>
              <a:gd name="connsiteY54" fmla="*/ 1167581 h 1590675"/>
              <a:gd name="connsiteX55" fmla="*/ 759143 w 1933575"/>
              <a:gd name="connsiteY55" fmla="*/ 1125576 h 1590675"/>
              <a:gd name="connsiteX56" fmla="*/ 768953 w 1933575"/>
              <a:gd name="connsiteY56" fmla="*/ 1123100 h 1590675"/>
              <a:gd name="connsiteX57" fmla="*/ 800195 w 1933575"/>
              <a:gd name="connsiteY57" fmla="*/ 1084428 h 1590675"/>
              <a:gd name="connsiteX58" fmla="*/ 768953 w 1933575"/>
              <a:gd name="connsiteY58" fmla="*/ 1047186 h 1590675"/>
              <a:gd name="connsiteX59" fmla="*/ 725615 w 1933575"/>
              <a:gd name="connsiteY59" fmla="*/ 1068998 h 1590675"/>
              <a:gd name="connsiteX60" fmla="*/ 719233 w 1933575"/>
              <a:gd name="connsiteY60" fmla="*/ 1076999 h 1590675"/>
              <a:gd name="connsiteX61" fmla="*/ 695992 w 1933575"/>
              <a:gd name="connsiteY61" fmla="*/ 1034327 h 1590675"/>
              <a:gd name="connsiteX62" fmla="*/ 643319 w 1933575"/>
              <a:gd name="connsiteY62" fmla="*/ 1057187 h 1590675"/>
              <a:gd name="connsiteX63" fmla="*/ 634556 w 1933575"/>
              <a:gd name="connsiteY63" fmla="*/ 1034803 h 1590675"/>
              <a:gd name="connsiteX64" fmla="*/ 615410 w 1933575"/>
              <a:gd name="connsiteY64" fmla="*/ 1016801 h 1590675"/>
              <a:gd name="connsiteX65" fmla="*/ 625031 w 1933575"/>
              <a:gd name="connsiteY65" fmla="*/ 1014515 h 1590675"/>
              <a:gd name="connsiteX66" fmla="*/ 654844 w 1933575"/>
              <a:gd name="connsiteY66" fmla="*/ 976415 h 1590675"/>
              <a:gd name="connsiteX67" fmla="*/ 623697 w 1933575"/>
              <a:gd name="connsiteY67" fmla="*/ 939363 h 1590675"/>
              <a:gd name="connsiteX68" fmla="*/ 580644 w 1933575"/>
              <a:gd name="connsiteY68" fmla="*/ 961365 h 1590675"/>
              <a:gd name="connsiteX69" fmla="*/ 575215 w 1933575"/>
              <a:gd name="connsiteY69" fmla="*/ 969747 h 1590675"/>
              <a:gd name="connsiteX70" fmla="*/ 549688 w 1933575"/>
              <a:gd name="connsiteY70" fmla="*/ 926694 h 1590675"/>
              <a:gd name="connsiteX71" fmla="*/ 518446 w 1933575"/>
              <a:gd name="connsiteY71" fmla="*/ 928885 h 1590675"/>
              <a:gd name="connsiteX72" fmla="*/ 496157 w 1933575"/>
              <a:gd name="connsiteY72" fmla="*/ 943172 h 1590675"/>
              <a:gd name="connsiteX73" fmla="*/ 467963 w 1933575"/>
              <a:gd name="connsiteY73" fmla="*/ 911073 h 1590675"/>
              <a:gd name="connsiteX74" fmla="*/ 420338 w 1933575"/>
              <a:gd name="connsiteY74" fmla="*/ 930885 h 1590675"/>
              <a:gd name="connsiteX75" fmla="*/ 383667 w 1933575"/>
              <a:gd name="connsiteY75" fmla="*/ 895071 h 1590675"/>
              <a:gd name="connsiteX76" fmla="*/ 343281 w 1933575"/>
              <a:gd name="connsiteY76" fmla="*/ 918788 h 1590675"/>
              <a:gd name="connsiteX77" fmla="*/ 321278 w 1933575"/>
              <a:gd name="connsiteY77" fmla="*/ 882117 h 1590675"/>
              <a:gd name="connsiteX78" fmla="*/ 353092 w 1933575"/>
              <a:gd name="connsiteY78" fmla="*/ 841255 h 1590675"/>
              <a:gd name="connsiteX79" fmla="*/ 324517 w 1933575"/>
              <a:gd name="connsiteY79" fmla="*/ 806394 h 1590675"/>
              <a:gd name="connsiteX80" fmla="*/ 282131 w 1933575"/>
              <a:gd name="connsiteY80" fmla="*/ 824110 h 1590675"/>
              <a:gd name="connsiteX81" fmla="*/ 278892 w 1933575"/>
              <a:gd name="connsiteY81" fmla="*/ 855257 h 1590675"/>
              <a:gd name="connsiteX82" fmla="*/ 294227 w 1933575"/>
              <a:gd name="connsiteY82" fmla="*/ 877641 h 1590675"/>
              <a:gd name="connsiteX83" fmla="*/ 262890 w 1933575"/>
              <a:gd name="connsiteY83" fmla="*/ 902310 h 1590675"/>
              <a:gd name="connsiteX84" fmla="*/ 241078 w 1933575"/>
              <a:gd name="connsiteY84" fmla="*/ 867830 h 1590675"/>
              <a:gd name="connsiteX85" fmla="*/ 273368 w 1933575"/>
              <a:gd name="connsiteY85" fmla="*/ 826968 h 1590675"/>
              <a:gd name="connsiteX86" fmla="*/ 243269 w 1933575"/>
              <a:gd name="connsiteY86" fmla="*/ 792011 h 1590675"/>
              <a:gd name="connsiteX87" fmla="*/ 200692 w 1933575"/>
              <a:gd name="connsiteY87" fmla="*/ 812680 h 1590675"/>
              <a:gd name="connsiteX88" fmla="*/ 215741 w 1933575"/>
              <a:gd name="connsiteY88" fmla="*/ 862972 h 1590675"/>
              <a:gd name="connsiteX89" fmla="*/ 181261 w 1933575"/>
              <a:gd name="connsiteY89" fmla="*/ 890213 h 1590675"/>
              <a:gd name="connsiteX90" fmla="*/ 146304 w 1933575"/>
              <a:gd name="connsiteY90" fmla="*/ 855543 h 1590675"/>
              <a:gd name="connsiteX91" fmla="*/ 102108 w 1933575"/>
              <a:gd name="connsiteY91" fmla="*/ 884784 h 1590675"/>
              <a:gd name="connsiteX92" fmla="*/ 68866 w 1933575"/>
              <a:gd name="connsiteY92" fmla="*/ 842017 h 1590675"/>
              <a:gd name="connsiteX93" fmla="*/ 22765 w 1933575"/>
              <a:gd name="connsiteY93" fmla="*/ 870592 h 1590675"/>
              <a:gd name="connsiteX94" fmla="*/ 20955 w 1933575"/>
              <a:gd name="connsiteY94" fmla="*/ 860305 h 1590675"/>
              <a:gd name="connsiteX95" fmla="*/ 95 w 1933575"/>
              <a:gd name="connsiteY95" fmla="*/ 831635 h 1590675"/>
              <a:gd name="connsiteX96" fmla="*/ 95 w 1933575"/>
              <a:gd name="connsiteY96" fmla="*/ 901548 h 1590675"/>
              <a:gd name="connsiteX97" fmla="*/ 19336 w 1933575"/>
              <a:gd name="connsiteY97" fmla="*/ 880403 h 1590675"/>
              <a:gd name="connsiteX98" fmla="*/ 38767 w 1933575"/>
              <a:gd name="connsiteY98" fmla="*/ 915931 h 1590675"/>
              <a:gd name="connsiteX99" fmla="*/ 9716 w 1933575"/>
              <a:gd name="connsiteY99" fmla="*/ 937934 h 1590675"/>
              <a:gd name="connsiteX100" fmla="*/ 95 w 1933575"/>
              <a:gd name="connsiteY100" fmla="*/ 925266 h 1590675"/>
              <a:gd name="connsiteX101" fmla="*/ 95 w 1933575"/>
              <a:gd name="connsiteY101" fmla="*/ 969938 h 1590675"/>
              <a:gd name="connsiteX102" fmla="*/ 6382 w 1933575"/>
              <a:gd name="connsiteY102" fmla="*/ 964889 h 1590675"/>
              <a:gd name="connsiteX103" fmla="*/ 25146 w 1933575"/>
              <a:gd name="connsiteY103" fmla="*/ 994036 h 1590675"/>
              <a:gd name="connsiteX104" fmla="*/ 95 w 1933575"/>
              <a:gd name="connsiteY104" fmla="*/ 1011371 h 1590675"/>
              <a:gd name="connsiteX105" fmla="*/ 95 w 1933575"/>
              <a:gd name="connsiteY105" fmla="*/ 1059568 h 1590675"/>
              <a:gd name="connsiteX106" fmla="*/ 9239 w 1933575"/>
              <a:gd name="connsiteY106" fmla="*/ 1073475 h 1590675"/>
              <a:gd name="connsiteX107" fmla="*/ 95 w 1933575"/>
              <a:gd name="connsiteY107" fmla="*/ 1079189 h 1590675"/>
              <a:gd name="connsiteX108" fmla="*/ 95 w 1933575"/>
              <a:gd name="connsiteY108" fmla="*/ 1398277 h 1590675"/>
              <a:gd name="connsiteX109" fmla="*/ 14478 w 1933575"/>
              <a:gd name="connsiteY109" fmla="*/ 1387895 h 1590675"/>
              <a:gd name="connsiteX110" fmla="*/ 24765 w 1933575"/>
              <a:gd name="connsiteY110" fmla="*/ 1403421 h 1590675"/>
              <a:gd name="connsiteX111" fmla="*/ 9906 w 1933575"/>
              <a:gd name="connsiteY111" fmla="*/ 1413708 h 1590675"/>
              <a:gd name="connsiteX112" fmla="*/ 95 w 1933575"/>
              <a:gd name="connsiteY112" fmla="*/ 1400658 h 1590675"/>
              <a:gd name="connsiteX113" fmla="*/ 87821 w 1933575"/>
              <a:gd name="connsiteY113" fmla="*/ 1424090 h 1590675"/>
              <a:gd name="connsiteX114" fmla="*/ 79439 w 1933575"/>
              <a:gd name="connsiteY114" fmla="*/ 1413612 h 1590675"/>
              <a:gd name="connsiteX115" fmla="*/ 91821 w 1933575"/>
              <a:gd name="connsiteY115" fmla="*/ 1404183 h 1590675"/>
              <a:gd name="connsiteX116" fmla="*/ 99536 w 1933575"/>
              <a:gd name="connsiteY116" fmla="*/ 1415803 h 1590675"/>
              <a:gd name="connsiteX117" fmla="*/ 87821 w 1933575"/>
              <a:gd name="connsiteY117" fmla="*/ 1424090 h 1590675"/>
              <a:gd name="connsiteX118" fmla="*/ 102680 w 1933575"/>
              <a:gd name="connsiteY118" fmla="*/ 1348461 h 1590675"/>
              <a:gd name="connsiteX119" fmla="*/ 90392 w 1933575"/>
              <a:gd name="connsiteY119" fmla="*/ 1332840 h 1590675"/>
              <a:gd name="connsiteX120" fmla="*/ 105728 w 1933575"/>
              <a:gd name="connsiteY120" fmla="*/ 1320744 h 1590675"/>
              <a:gd name="connsiteX121" fmla="*/ 117634 w 1933575"/>
              <a:gd name="connsiteY121" fmla="*/ 1338746 h 1590675"/>
              <a:gd name="connsiteX122" fmla="*/ 102680 w 1933575"/>
              <a:gd name="connsiteY122" fmla="*/ 1348461 h 1590675"/>
              <a:gd name="connsiteX123" fmla="*/ 114586 w 1933575"/>
              <a:gd name="connsiteY123" fmla="*/ 1272547 h 1590675"/>
              <a:gd name="connsiteX124" fmla="*/ 100394 w 1933575"/>
              <a:gd name="connsiteY124" fmla="*/ 1253497 h 1590675"/>
              <a:gd name="connsiteX125" fmla="*/ 120396 w 1933575"/>
              <a:gd name="connsiteY125" fmla="*/ 1238638 h 1590675"/>
              <a:gd name="connsiteX126" fmla="*/ 134207 w 1933575"/>
              <a:gd name="connsiteY126" fmla="*/ 1259403 h 1590675"/>
              <a:gd name="connsiteX127" fmla="*/ 114586 w 1933575"/>
              <a:gd name="connsiteY127" fmla="*/ 1272547 h 1590675"/>
              <a:gd name="connsiteX128" fmla="*/ 128397 w 1933575"/>
              <a:gd name="connsiteY128" fmla="*/ 1195490 h 1590675"/>
              <a:gd name="connsiteX129" fmla="*/ 112109 w 1933575"/>
              <a:gd name="connsiteY129" fmla="*/ 1173487 h 1590675"/>
              <a:gd name="connsiteX130" fmla="*/ 134969 w 1933575"/>
              <a:gd name="connsiteY130" fmla="*/ 1156914 h 1590675"/>
              <a:gd name="connsiteX131" fmla="*/ 151067 w 1933575"/>
              <a:gd name="connsiteY131" fmla="*/ 1180250 h 1590675"/>
              <a:gd name="connsiteX132" fmla="*/ 128397 w 1933575"/>
              <a:gd name="connsiteY132" fmla="*/ 1195490 h 1590675"/>
              <a:gd name="connsiteX133" fmla="*/ 166688 w 1933575"/>
              <a:gd name="connsiteY133" fmla="*/ 1438758 h 1590675"/>
              <a:gd name="connsiteX134" fmla="*/ 158210 w 1933575"/>
              <a:gd name="connsiteY134" fmla="*/ 1427043 h 1590675"/>
              <a:gd name="connsiteX135" fmla="*/ 171545 w 1933575"/>
              <a:gd name="connsiteY135" fmla="*/ 1416184 h 1590675"/>
              <a:gd name="connsiteX136" fmla="*/ 180975 w 1933575"/>
              <a:gd name="connsiteY136" fmla="*/ 1428947 h 1590675"/>
              <a:gd name="connsiteX137" fmla="*/ 166688 w 1933575"/>
              <a:gd name="connsiteY137" fmla="*/ 1438758 h 1590675"/>
              <a:gd name="connsiteX138" fmla="*/ 179927 w 1933575"/>
              <a:gd name="connsiteY138" fmla="*/ 1362272 h 1590675"/>
              <a:gd name="connsiteX139" fmla="*/ 168212 w 1933575"/>
              <a:gd name="connsiteY139" fmla="*/ 1348080 h 1590675"/>
              <a:gd name="connsiteX140" fmla="*/ 185642 w 1933575"/>
              <a:gd name="connsiteY140" fmla="*/ 1335126 h 1590675"/>
              <a:gd name="connsiteX141" fmla="*/ 195358 w 1933575"/>
              <a:gd name="connsiteY141" fmla="*/ 1350652 h 1590675"/>
              <a:gd name="connsiteX142" fmla="*/ 179927 w 1933575"/>
              <a:gd name="connsiteY142" fmla="*/ 1362272 h 1590675"/>
              <a:gd name="connsiteX143" fmla="*/ 194310 w 1933575"/>
              <a:gd name="connsiteY143" fmla="*/ 1286739 h 1590675"/>
              <a:gd name="connsiteX144" fmla="*/ 180499 w 1933575"/>
              <a:gd name="connsiteY144" fmla="*/ 1267785 h 1590675"/>
              <a:gd name="connsiteX145" fmla="*/ 199930 w 1933575"/>
              <a:gd name="connsiteY145" fmla="*/ 1253021 h 1590675"/>
              <a:gd name="connsiteX146" fmla="*/ 213551 w 1933575"/>
              <a:gd name="connsiteY146" fmla="*/ 1273500 h 1590675"/>
              <a:gd name="connsiteX147" fmla="*/ 194310 w 1933575"/>
              <a:gd name="connsiteY147" fmla="*/ 1286739 h 1590675"/>
              <a:gd name="connsiteX148" fmla="*/ 192310 w 1933575"/>
              <a:gd name="connsiteY148" fmla="*/ 1187870 h 1590675"/>
              <a:gd name="connsiteX149" fmla="*/ 214789 w 1933575"/>
              <a:gd name="connsiteY149" fmla="*/ 1171201 h 1590675"/>
              <a:gd name="connsiteX150" fmla="*/ 230600 w 1933575"/>
              <a:gd name="connsiteY150" fmla="*/ 1194442 h 1590675"/>
              <a:gd name="connsiteX151" fmla="*/ 207931 w 1933575"/>
              <a:gd name="connsiteY151" fmla="*/ 1209492 h 1590675"/>
              <a:gd name="connsiteX152" fmla="*/ 192310 w 1933575"/>
              <a:gd name="connsiteY152" fmla="*/ 1187870 h 1590675"/>
              <a:gd name="connsiteX153" fmla="*/ 233077 w 1933575"/>
              <a:gd name="connsiteY153" fmla="*/ 1530484 h 1590675"/>
              <a:gd name="connsiteX154" fmla="*/ 223933 w 1933575"/>
              <a:gd name="connsiteY154" fmla="*/ 1518673 h 1590675"/>
              <a:gd name="connsiteX155" fmla="*/ 236125 w 1933575"/>
              <a:gd name="connsiteY155" fmla="*/ 1510672 h 1590675"/>
              <a:gd name="connsiteX156" fmla="*/ 244126 w 1933575"/>
              <a:gd name="connsiteY156" fmla="*/ 1522293 h 1590675"/>
              <a:gd name="connsiteX157" fmla="*/ 233077 w 1933575"/>
              <a:gd name="connsiteY157" fmla="*/ 1530484 h 1590675"/>
              <a:gd name="connsiteX158" fmla="*/ 246317 w 1933575"/>
              <a:gd name="connsiteY158" fmla="*/ 1452855 h 1590675"/>
              <a:gd name="connsiteX159" fmla="*/ 235934 w 1933575"/>
              <a:gd name="connsiteY159" fmla="*/ 1439139 h 1590675"/>
              <a:gd name="connsiteX160" fmla="*/ 250508 w 1933575"/>
              <a:gd name="connsiteY160" fmla="*/ 1428471 h 1590675"/>
              <a:gd name="connsiteX161" fmla="*/ 260985 w 1933575"/>
              <a:gd name="connsiteY161" fmla="*/ 1443045 h 1590675"/>
              <a:gd name="connsiteX162" fmla="*/ 246317 w 1933575"/>
              <a:gd name="connsiteY162" fmla="*/ 1452855 h 1590675"/>
              <a:gd name="connsiteX163" fmla="*/ 260033 w 1933575"/>
              <a:gd name="connsiteY163" fmla="*/ 1375798 h 1590675"/>
              <a:gd name="connsiteX164" fmla="*/ 250031 w 1933575"/>
              <a:gd name="connsiteY164" fmla="*/ 1361130 h 1590675"/>
              <a:gd name="connsiteX165" fmla="*/ 265081 w 1933575"/>
              <a:gd name="connsiteY165" fmla="*/ 1349223 h 1590675"/>
              <a:gd name="connsiteX166" fmla="*/ 275558 w 1933575"/>
              <a:gd name="connsiteY166" fmla="*/ 1365130 h 1590675"/>
              <a:gd name="connsiteX167" fmla="*/ 260033 w 1933575"/>
              <a:gd name="connsiteY167" fmla="*/ 1375798 h 1590675"/>
              <a:gd name="connsiteX168" fmla="*/ 273844 w 1933575"/>
              <a:gd name="connsiteY168" fmla="*/ 1301122 h 1590675"/>
              <a:gd name="connsiteX169" fmla="*/ 260128 w 1933575"/>
              <a:gd name="connsiteY169" fmla="*/ 1282072 h 1590675"/>
              <a:gd name="connsiteX170" fmla="*/ 279845 w 1933575"/>
              <a:gd name="connsiteY170" fmla="*/ 1267499 h 1590675"/>
              <a:gd name="connsiteX171" fmla="*/ 293751 w 1933575"/>
              <a:gd name="connsiteY171" fmla="*/ 1288073 h 1590675"/>
              <a:gd name="connsiteX172" fmla="*/ 273844 w 1933575"/>
              <a:gd name="connsiteY172" fmla="*/ 1301122 h 1590675"/>
              <a:gd name="connsiteX173" fmla="*/ 272129 w 1933575"/>
              <a:gd name="connsiteY173" fmla="*/ 1201967 h 1590675"/>
              <a:gd name="connsiteX174" fmla="*/ 294132 w 1933575"/>
              <a:gd name="connsiteY174" fmla="*/ 1185489 h 1590675"/>
              <a:gd name="connsiteX175" fmla="*/ 310325 w 1933575"/>
              <a:gd name="connsiteY175" fmla="*/ 1208730 h 1590675"/>
              <a:gd name="connsiteX176" fmla="*/ 287655 w 1933575"/>
              <a:gd name="connsiteY176" fmla="*/ 1223684 h 1590675"/>
              <a:gd name="connsiteX177" fmla="*/ 272129 w 1933575"/>
              <a:gd name="connsiteY177" fmla="*/ 1201967 h 1590675"/>
              <a:gd name="connsiteX178" fmla="*/ 312325 w 1933575"/>
              <a:gd name="connsiteY178" fmla="*/ 1545724 h 1590675"/>
              <a:gd name="connsiteX179" fmla="*/ 303467 w 1933575"/>
              <a:gd name="connsiteY179" fmla="*/ 1533532 h 1590675"/>
              <a:gd name="connsiteX180" fmla="*/ 315944 w 1933575"/>
              <a:gd name="connsiteY180" fmla="*/ 1523817 h 1590675"/>
              <a:gd name="connsiteX181" fmla="*/ 324612 w 1933575"/>
              <a:gd name="connsiteY181" fmla="*/ 1536294 h 1590675"/>
              <a:gd name="connsiteX182" fmla="*/ 312325 w 1933575"/>
              <a:gd name="connsiteY182" fmla="*/ 1545724 h 1590675"/>
              <a:gd name="connsiteX183" fmla="*/ 326231 w 1933575"/>
              <a:gd name="connsiteY183" fmla="*/ 1467524 h 1590675"/>
              <a:gd name="connsiteX184" fmla="*/ 315468 w 1933575"/>
              <a:gd name="connsiteY184" fmla="*/ 1453331 h 1590675"/>
              <a:gd name="connsiteX185" fmla="*/ 330232 w 1933575"/>
              <a:gd name="connsiteY185" fmla="*/ 1441997 h 1590675"/>
              <a:gd name="connsiteX186" fmla="*/ 341090 w 1933575"/>
              <a:gd name="connsiteY186" fmla="*/ 1457999 h 1590675"/>
              <a:gd name="connsiteX187" fmla="*/ 326231 w 1933575"/>
              <a:gd name="connsiteY187" fmla="*/ 1467524 h 1590675"/>
              <a:gd name="connsiteX188" fmla="*/ 339471 w 1933575"/>
              <a:gd name="connsiteY188" fmla="*/ 1390467 h 1590675"/>
              <a:gd name="connsiteX189" fmla="*/ 329184 w 1933575"/>
              <a:gd name="connsiteY189" fmla="*/ 1375227 h 1590675"/>
              <a:gd name="connsiteX190" fmla="*/ 345758 w 1933575"/>
              <a:gd name="connsiteY190" fmla="*/ 1361892 h 1590675"/>
              <a:gd name="connsiteX191" fmla="*/ 357569 w 1933575"/>
              <a:gd name="connsiteY191" fmla="*/ 1378275 h 1590675"/>
              <a:gd name="connsiteX192" fmla="*/ 339471 w 1933575"/>
              <a:gd name="connsiteY192" fmla="*/ 1390467 h 1590675"/>
              <a:gd name="connsiteX193" fmla="*/ 352901 w 1933575"/>
              <a:gd name="connsiteY193" fmla="*/ 1314267 h 1590675"/>
              <a:gd name="connsiteX194" fmla="*/ 339090 w 1933575"/>
              <a:gd name="connsiteY194" fmla="*/ 1296455 h 1590675"/>
              <a:gd name="connsiteX195" fmla="*/ 359474 w 1933575"/>
              <a:gd name="connsiteY195" fmla="*/ 1281215 h 1590675"/>
              <a:gd name="connsiteX196" fmla="*/ 372047 w 1933575"/>
              <a:gd name="connsiteY196" fmla="*/ 1299979 h 1590675"/>
              <a:gd name="connsiteX197" fmla="*/ 352901 w 1933575"/>
              <a:gd name="connsiteY197" fmla="*/ 1314267 h 1590675"/>
              <a:gd name="connsiteX198" fmla="*/ 351473 w 1933575"/>
              <a:gd name="connsiteY198" fmla="*/ 1216350 h 1590675"/>
              <a:gd name="connsiteX199" fmla="*/ 374047 w 1933575"/>
              <a:gd name="connsiteY199" fmla="*/ 1199490 h 1590675"/>
              <a:gd name="connsiteX200" fmla="*/ 390430 w 1933575"/>
              <a:gd name="connsiteY200" fmla="*/ 1223303 h 1590675"/>
              <a:gd name="connsiteX201" fmla="*/ 367284 w 1933575"/>
              <a:gd name="connsiteY201" fmla="*/ 1238638 h 1590675"/>
              <a:gd name="connsiteX202" fmla="*/ 351473 w 1933575"/>
              <a:gd name="connsiteY202" fmla="*/ 1216350 h 1590675"/>
              <a:gd name="connsiteX203" fmla="*/ 391859 w 1933575"/>
              <a:gd name="connsiteY203" fmla="*/ 1560583 h 1590675"/>
              <a:gd name="connsiteX204" fmla="*/ 382143 w 1933575"/>
              <a:gd name="connsiteY204" fmla="*/ 1547248 h 1590675"/>
              <a:gd name="connsiteX205" fmla="*/ 395478 w 1933575"/>
              <a:gd name="connsiteY205" fmla="*/ 1537247 h 1590675"/>
              <a:gd name="connsiteX206" fmla="*/ 405575 w 1933575"/>
              <a:gd name="connsiteY206" fmla="*/ 1551153 h 1590675"/>
              <a:gd name="connsiteX207" fmla="*/ 391859 w 1933575"/>
              <a:gd name="connsiteY207" fmla="*/ 1560583 h 1590675"/>
              <a:gd name="connsiteX208" fmla="*/ 405575 w 1933575"/>
              <a:gd name="connsiteY208" fmla="*/ 1482954 h 1590675"/>
              <a:gd name="connsiteX209" fmla="*/ 394240 w 1933575"/>
              <a:gd name="connsiteY209" fmla="*/ 1467619 h 1590675"/>
              <a:gd name="connsiteX210" fmla="*/ 410147 w 1933575"/>
              <a:gd name="connsiteY210" fmla="*/ 1455522 h 1590675"/>
              <a:gd name="connsiteX211" fmla="*/ 421481 w 1933575"/>
              <a:gd name="connsiteY211" fmla="*/ 1472286 h 1590675"/>
              <a:gd name="connsiteX212" fmla="*/ 405575 w 1933575"/>
              <a:gd name="connsiteY212" fmla="*/ 1482954 h 1590675"/>
              <a:gd name="connsiteX213" fmla="*/ 419386 w 1933575"/>
              <a:gd name="connsiteY213" fmla="*/ 1405230 h 1590675"/>
              <a:gd name="connsiteX214" fmla="*/ 406241 w 1933575"/>
              <a:gd name="connsiteY214" fmla="*/ 1387323 h 1590675"/>
              <a:gd name="connsiteX215" fmla="*/ 424625 w 1933575"/>
              <a:gd name="connsiteY215" fmla="*/ 1373512 h 1590675"/>
              <a:gd name="connsiteX216" fmla="*/ 437769 w 1933575"/>
              <a:gd name="connsiteY216" fmla="*/ 1392848 h 1590675"/>
              <a:gd name="connsiteX217" fmla="*/ 419386 w 1933575"/>
              <a:gd name="connsiteY217" fmla="*/ 1405230 h 1590675"/>
              <a:gd name="connsiteX218" fmla="*/ 432816 w 1933575"/>
              <a:gd name="connsiteY218" fmla="*/ 1328554 h 1590675"/>
              <a:gd name="connsiteX219" fmla="*/ 420243 w 1933575"/>
              <a:gd name="connsiteY219" fmla="*/ 1309314 h 1590675"/>
              <a:gd name="connsiteX220" fmla="*/ 439103 w 1933575"/>
              <a:gd name="connsiteY220" fmla="*/ 1294645 h 1590675"/>
              <a:gd name="connsiteX221" fmla="*/ 452342 w 1933575"/>
              <a:gd name="connsiteY221" fmla="*/ 1314457 h 1590675"/>
              <a:gd name="connsiteX222" fmla="*/ 432816 w 1933575"/>
              <a:gd name="connsiteY222" fmla="*/ 1328554 h 1590675"/>
              <a:gd name="connsiteX223" fmla="*/ 430339 w 1933575"/>
              <a:gd name="connsiteY223" fmla="*/ 1230256 h 1590675"/>
              <a:gd name="connsiteX224" fmla="*/ 453771 w 1933575"/>
              <a:gd name="connsiteY224" fmla="*/ 1213302 h 1590675"/>
              <a:gd name="connsiteX225" fmla="*/ 470726 w 1933575"/>
              <a:gd name="connsiteY225" fmla="*/ 1237400 h 1590675"/>
              <a:gd name="connsiteX226" fmla="*/ 446627 w 1933575"/>
              <a:gd name="connsiteY226" fmla="*/ 1253592 h 1590675"/>
              <a:gd name="connsiteX227" fmla="*/ 430339 w 1933575"/>
              <a:gd name="connsiteY227" fmla="*/ 1230256 h 1590675"/>
              <a:gd name="connsiteX228" fmla="*/ 471583 w 1933575"/>
              <a:gd name="connsiteY228" fmla="*/ 1576109 h 1590675"/>
              <a:gd name="connsiteX229" fmla="*/ 460439 w 1933575"/>
              <a:gd name="connsiteY229" fmla="*/ 1561345 h 1590675"/>
              <a:gd name="connsiteX230" fmla="*/ 475679 w 1933575"/>
              <a:gd name="connsiteY230" fmla="*/ 1550201 h 1590675"/>
              <a:gd name="connsiteX231" fmla="*/ 486347 w 1933575"/>
              <a:gd name="connsiteY231" fmla="*/ 1565917 h 1590675"/>
              <a:gd name="connsiteX232" fmla="*/ 471583 w 1933575"/>
              <a:gd name="connsiteY232" fmla="*/ 1576109 h 1590675"/>
              <a:gd name="connsiteX233" fmla="*/ 485013 w 1933575"/>
              <a:gd name="connsiteY233" fmla="*/ 1498385 h 1590675"/>
              <a:gd name="connsiteX234" fmla="*/ 472821 w 1933575"/>
              <a:gd name="connsiteY234" fmla="*/ 1481811 h 1590675"/>
              <a:gd name="connsiteX235" fmla="*/ 490061 w 1933575"/>
              <a:gd name="connsiteY235" fmla="*/ 1468762 h 1590675"/>
              <a:gd name="connsiteX236" fmla="*/ 502444 w 1933575"/>
              <a:gd name="connsiteY236" fmla="*/ 1486669 h 1590675"/>
              <a:gd name="connsiteX237" fmla="*/ 485013 w 1933575"/>
              <a:gd name="connsiteY237" fmla="*/ 1498385 h 1590675"/>
              <a:gd name="connsiteX238" fmla="*/ 498729 w 1933575"/>
              <a:gd name="connsiteY238" fmla="*/ 1420566 h 1590675"/>
              <a:gd name="connsiteX239" fmla="*/ 485204 w 1933575"/>
              <a:gd name="connsiteY239" fmla="*/ 1401516 h 1590675"/>
              <a:gd name="connsiteX240" fmla="*/ 504539 w 1933575"/>
              <a:gd name="connsiteY240" fmla="*/ 1386942 h 1590675"/>
              <a:gd name="connsiteX241" fmla="*/ 518636 w 1933575"/>
              <a:gd name="connsiteY241" fmla="*/ 1407516 h 1590675"/>
              <a:gd name="connsiteX242" fmla="*/ 498729 w 1933575"/>
              <a:gd name="connsiteY242" fmla="*/ 1420566 h 1590675"/>
              <a:gd name="connsiteX243" fmla="*/ 512445 w 1933575"/>
              <a:gd name="connsiteY243" fmla="*/ 1343508 h 1590675"/>
              <a:gd name="connsiteX244" fmla="*/ 499110 w 1933575"/>
              <a:gd name="connsiteY244" fmla="*/ 1323411 h 1590675"/>
              <a:gd name="connsiteX245" fmla="*/ 517874 w 1933575"/>
              <a:gd name="connsiteY245" fmla="*/ 1309028 h 1590675"/>
              <a:gd name="connsiteX246" fmla="*/ 533210 w 1933575"/>
              <a:gd name="connsiteY246" fmla="*/ 1328745 h 1590675"/>
              <a:gd name="connsiteX247" fmla="*/ 512445 w 1933575"/>
              <a:gd name="connsiteY247" fmla="*/ 1343508 h 1590675"/>
              <a:gd name="connsiteX248" fmla="*/ 524637 w 1933575"/>
              <a:gd name="connsiteY248" fmla="*/ 1264641 h 1590675"/>
              <a:gd name="connsiteX249" fmla="*/ 508826 w 1933575"/>
              <a:gd name="connsiteY249" fmla="*/ 1244448 h 1590675"/>
              <a:gd name="connsiteX250" fmla="*/ 531971 w 1933575"/>
              <a:gd name="connsiteY250" fmla="*/ 1228542 h 1590675"/>
              <a:gd name="connsiteX251" fmla="*/ 546259 w 1933575"/>
              <a:gd name="connsiteY251" fmla="*/ 1249782 h 1590675"/>
              <a:gd name="connsiteX252" fmla="*/ 524637 w 1933575"/>
              <a:gd name="connsiteY252" fmla="*/ 1264641 h 1590675"/>
              <a:gd name="connsiteX253" fmla="*/ 519779 w 1933575"/>
              <a:gd name="connsiteY253" fmla="*/ 1163962 h 1590675"/>
              <a:gd name="connsiteX254" fmla="*/ 545592 w 1933575"/>
              <a:gd name="connsiteY254" fmla="*/ 1144150 h 1590675"/>
              <a:gd name="connsiteX255" fmla="*/ 564737 w 1933575"/>
              <a:gd name="connsiteY255" fmla="*/ 1173297 h 1590675"/>
              <a:gd name="connsiteX256" fmla="*/ 539401 w 1933575"/>
              <a:gd name="connsiteY256" fmla="*/ 1188537 h 1590675"/>
              <a:gd name="connsiteX257" fmla="*/ 519779 w 1933575"/>
              <a:gd name="connsiteY257" fmla="*/ 1163962 h 1590675"/>
              <a:gd name="connsiteX258" fmla="*/ 564642 w 1933575"/>
              <a:gd name="connsiteY258" fmla="*/ 1514387 h 1590675"/>
              <a:gd name="connsiteX259" fmla="*/ 551117 w 1933575"/>
              <a:gd name="connsiteY259" fmla="*/ 1495432 h 1590675"/>
              <a:gd name="connsiteX260" fmla="*/ 567881 w 1933575"/>
              <a:gd name="connsiteY260" fmla="*/ 1483716 h 1590675"/>
              <a:gd name="connsiteX261" fmla="*/ 581692 w 1933575"/>
              <a:gd name="connsiteY261" fmla="*/ 1501909 h 1590675"/>
              <a:gd name="connsiteX262" fmla="*/ 564642 w 1933575"/>
              <a:gd name="connsiteY262" fmla="*/ 1514387 h 1590675"/>
              <a:gd name="connsiteX263" fmla="*/ 577406 w 1933575"/>
              <a:gd name="connsiteY263" fmla="*/ 1434091 h 1590675"/>
              <a:gd name="connsiteX264" fmla="*/ 563118 w 1933575"/>
              <a:gd name="connsiteY264" fmla="*/ 1415422 h 1590675"/>
              <a:gd name="connsiteX265" fmla="*/ 582454 w 1933575"/>
              <a:gd name="connsiteY265" fmla="*/ 1402182 h 1590675"/>
              <a:gd name="connsiteX266" fmla="*/ 597408 w 1933575"/>
              <a:gd name="connsiteY266" fmla="*/ 1421994 h 1590675"/>
              <a:gd name="connsiteX267" fmla="*/ 577406 w 1933575"/>
              <a:gd name="connsiteY267" fmla="*/ 1434091 h 1590675"/>
              <a:gd name="connsiteX268" fmla="*/ 591217 w 1933575"/>
              <a:gd name="connsiteY268" fmla="*/ 1356558 h 1590675"/>
              <a:gd name="connsiteX269" fmla="*/ 574548 w 1933575"/>
              <a:gd name="connsiteY269" fmla="*/ 1334745 h 1590675"/>
              <a:gd name="connsiteX270" fmla="*/ 595979 w 1933575"/>
              <a:gd name="connsiteY270" fmla="*/ 1318553 h 1590675"/>
              <a:gd name="connsiteX271" fmla="*/ 613220 w 1933575"/>
              <a:gd name="connsiteY271" fmla="*/ 1343127 h 1590675"/>
              <a:gd name="connsiteX272" fmla="*/ 591217 w 1933575"/>
              <a:gd name="connsiteY272" fmla="*/ 1356558 h 1590675"/>
              <a:gd name="connsiteX273" fmla="*/ 602742 w 1933575"/>
              <a:gd name="connsiteY273" fmla="*/ 1281405 h 1590675"/>
              <a:gd name="connsiteX274" fmla="*/ 587121 w 1933575"/>
              <a:gd name="connsiteY274" fmla="*/ 1257593 h 1590675"/>
              <a:gd name="connsiteX275" fmla="*/ 610838 w 1933575"/>
              <a:gd name="connsiteY275" fmla="*/ 1239019 h 1590675"/>
              <a:gd name="connsiteX276" fmla="*/ 626269 w 1933575"/>
              <a:gd name="connsiteY276" fmla="*/ 1264451 h 1590675"/>
              <a:gd name="connsiteX277" fmla="*/ 602742 w 1933575"/>
              <a:gd name="connsiteY277" fmla="*/ 1281405 h 1590675"/>
              <a:gd name="connsiteX278" fmla="*/ 596932 w 1933575"/>
              <a:gd name="connsiteY278" fmla="*/ 1178630 h 1590675"/>
              <a:gd name="connsiteX279" fmla="*/ 625316 w 1933575"/>
              <a:gd name="connsiteY279" fmla="*/ 1157199 h 1590675"/>
              <a:gd name="connsiteX280" fmla="*/ 645128 w 1933575"/>
              <a:gd name="connsiteY280" fmla="*/ 1187394 h 1590675"/>
              <a:gd name="connsiteX281" fmla="*/ 616649 w 1933575"/>
              <a:gd name="connsiteY281" fmla="*/ 1205872 h 1590675"/>
              <a:gd name="connsiteX282" fmla="*/ 596932 w 1933575"/>
              <a:gd name="connsiteY282" fmla="*/ 1178630 h 1590675"/>
              <a:gd name="connsiteX283" fmla="*/ 642747 w 1933575"/>
              <a:gd name="connsiteY283" fmla="*/ 1528008 h 1590675"/>
              <a:gd name="connsiteX284" fmla="*/ 628174 w 1933575"/>
              <a:gd name="connsiteY284" fmla="*/ 1508767 h 1590675"/>
              <a:gd name="connsiteX285" fmla="*/ 646748 w 1933575"/>
              <a:gd name="connsiteY285" fmla="*/ 1494575 h 1590675"/>
              <a:gd name="connsiteX286" fmla="*/ 662464 w 1933575"/>
              <a:gd name="connsiteY286" fmla="*/ 1515911 h 1590675"/>
              <a:gd name="connsiteX287" fmla="*/ 642747 w 1933575"/>
              <a:gd name="connsiteY287" fmla="*/ 1528008 h 1590675"/>
              <a:gd name="connsiteX288" fmla="*/ 654653 w 1933575"/>
              <a:gd name="connsiteY288" fmla="*/ 1452189 h 1590675"/>
              <a:gd name="connsiteX289" fmla="*/ 639223 w 1933575"/>
              <a:gd name="connsiteY289" fmla="*/ 1429614 h 1590675"/>
              <a:gd name="connsiteX290" fmla="*/ 661321 w 1933575"/>
              <a:gd name="connsiteY290" fmla="*/ 1412946 h 1590675"/>
              <a:gd name="connsiteX291" fmla="*/ 677894 w 1933575"/>
              <a:gd name="connsiteY291" fmla="*/ 1436663 h 1590675"/>
              <a:gd name="connsiteX292" fmla="*/ 654653 w 1933575"/>
              <a:gd name="connsiteY292" fmla="*/ 1452189 h 1590675"/>
              <a:gd name="connsiteX293" fmla="*/ 668274 w 1933575"/>
              <a:gd name="connsiteY293" fmla="*/ 1374179 h 1590675"/>
              <a:gd name="connsiteX294" fmla="*/ 651320 w 1933575"/>
              <a:gd name="connsiteY294" fmla="*/ 1349795 h 1590675"/>
              <a:gd name="connsiteX295" fmla="*/ 675894 w 1933575"/>
              <a:gd name="connsiteY295" fmla="*/ 1331507 h 1590675"/>
              <a:gd name="connsiteX296" fmla="*/ 693992 w 1933575"/>
              <a:gd name="connsiteY296" fmla="*/ 1357224 h 1590675"/>
              <a:gd name="connsiteX297" fmla="*/ 668274 w 1933575"/>
              <a:gd name="connsiteY297" fmla="*/ 1374179 h 1590675"/>
              <a:gd name="connsiteX298" fmla="*/ 720090 w 1933575"/>
              <a:gd name="connsiteY298" fmla="*/ 1546200 h 1590675"/>
              <a:gd name="connsiteX299" fmla="*/ 704564 w 1933575"/>
              <a:gd name="connsiteY299" fmla="*/ 1523436 h 1590675"/>
              <a:gd name="connsiteX300" fmla="*/ 726567 w 1933575"/>
              <a:gd name="connsiteY300" fmla="*/ 1507053 h 1590675"/>
              <a:gd name="connsiteX301" fmla="*/ 743331 w 1933575"/>
              <a:gd name="connsiteY301" fmla="*/ 1530389 h 1590675"/>
              <a:gd name="connsiteX302" fmla="*/ 720090 w 1933575"/>
              <a:gd name="connsiteY302" fmla="*/ 1546200 h 1590675"/>
              <a:gd name="connsiteX303" fmla="*/ 733806 w 1933575"/>
              <a:gd name="connsiteY303" fmla="*/ 1467714 h 1590675"/>
              <a:gd name="connsiteX304" fmla="*/ 717042 w 1933575"/>
              <a:gd name="connsiteY304" fmla="*/ 1443616 h 1590675"/>
              <a:gd name="connsiteX305" fmla="*/ 741426 w 1933575"/>
              <a:gd name="connsiteY305" fmla="*/ 1425804 h 1590675"/>
              <a:gd name="connsiteX306" fmla="*/ 759143 w 1933575"/>
              <a:gd name="connsiteY306" fmla="*/ 1451046 h 1590675"/>
              <a:gd name="connsiteX307" fmla="*/ 733806 w 1933575"/>
              <a:gd name="connsiteY307" fmla="*/ 1467714 h 1590675"/>
              <a:gd name="connsiteX308" fmla="*/ 747903 w 1933575"/>
              <a:gd name="connsiteY308" fmla="*/ 1389990 h 1590675"/>
              <a:gd name="connsiteX309" fmla="*/ 729520 w 1933575"/>
              <a:gd name="connsiteY309" fmla="*/ 1363606 h 1590675"/>
              <a:gd name="connsiteX310" fmla="*/ 755999 w 1933575"/>
              <a:gd name="connsiteY310" fmla="*/ 1343794 h 1590675"/>
              <a:gd name="connsiteX311" fmla="*/ 774668 w 1933575"/>
              <a:gd name="connsiteY311" fmla="*/ 1371893 h 1590675"/>
              <a:gd name="connsiteX312" fmla="*/ 747903 w 1933575"/>
              <a:gd name="connsiteY312" fmla="*/ 1389990 h 1590675"/>
              <a:gd name="connsiteX313" fmla="*/ 741236 w 1933575"/>
              <a:gd name="connsiteY313" fmla="*/ 1283882 h 1590675"/>
              <a:gd name="connsiteX314" fmla="*/ 770477 w 1933575"/>
              <a:gd name="connsiteY314" fmla="*/ 1261879 h 1590675"/>
              <a:gd name="connsiteX315" fmla="*/ 791432 w 1933575"/>
              <a:gd name="connsiteY315" fmla="*/ 1293216 h 1590675"/>
              <a:gd name="connsiteX316" fmla="*/ 761429 w 1933575"/>
              <a:gd name="connsiteY316" fmla="*/ 1311885 h 1590675"/>
              <a:gd name="connsiteX317" fmla="*/ 741236 w 1933575"/>
              <a:gd name="connsiteY317" fmla="*/ 1283882 h 1590675"/>
              <a:gd name="connsiteX318" fmla="*/ 799148 w 1933575"/>
              <a:gd name="connsiteY318" fmla="*/ 1562107 h 1590675"/>
              <a:gd name="connsiteX319" fmla="*/ 782288 w 1933575"/>
              <a:gd name="connsiteY319" fmla="*/ 1537628 h 1590675"/>
              <a:gd name="connsiteX320" fmla="*/ 806768 w 1933575"/>
              <a:gd name="connsiteY320" fmla="*/ 1519435 h 1590675"/>
              <a:gd name="connsiteX321" fmla="*/ 824865 w 1933575"/>
              <a:gd name="connsiteY321" fmla="*/ 1545057 h 1590675"/>
              <a:gd name="connsiteX322" fmla="*/ 799148 w 1933575"/>
              <a:gd name="connsiteY322" fmla="*/ 1562107 h 1590675"/>
              <a:gd name="connsiteX323" fmla="*/ 813245 w 1933575"/>
              <a:gd name="connsiteY323" fmla="*/ 1483812 h 1590675"/>
              <a:gd name="connsiteX324" fmla="*/ 795052 w 1933575"/>
              <a:gd name="connsiteY324" fmla="*/ 1457522 h 1590675"/>
              <a:gd name="connsiteX325" fmla="*/ 821341 w 1933575"/>
              <a:gd name="connsiteY325" fmla="*/ 1437711 h 1590675"/>
              <a:gd name="connsiteX326" fmla="*/ 840486 w 1933575"/>
              <a:gd name="connsiteY326" fmla="*/ 1465809 h 1590675"/>
              <a:gd name="connsiteX327" fmla="*/ 813245 w 1933575"/>
              <a:gd name="connsiteY327" fmla="*/ 1483812 h 1590675"/>
              <a:gd name="connsiteX328" fmla="*/ 878396 w 1933575"/>
              <a:gd name="connsiteY328" fmla="*/ 1578014 h 1590675"/>
              <a:gd name="connsiteX329" fmla="*/ 860012 w 1933575"/>
              <a:gd name="connsiteY329" fmla="*/ 1551439 h 1590675"/>
              <a:gd name="connsiteX330" fmla="*/ 886777 w 1933575"/>
              <a:gd name="connsiteY330" fmla="*/ 1531055 h 1590675"/>
              <a:gd name="connsiteX331" fmla="*/ 906113 w 1933575"/>
              <a:gd name="connsiteY331" fmla="*/ 1559821 h 1590675"/>
              <a:gd name="connsiteX332" fmla="*/ 878396 w 1933575"/>
              <a:gd name="connsiteY332" fmla="*/ 1578014 h 1590675"/>
              <a:gd name="connsiteX333" fmla="*/ 892207 w 1933575"/>
              <a:gd name="connsiteY333" fmla="*/ 1499718 h 1590675"/>
              <a:gd name="connsiteX334" fmla="*/ 872300 w 1933575"/>
              <a:gd name="connsiteY334" fmla="*/ 1471334 h 1590675"/>
              <a:gd name="connsiteX335" fmla="*/ 901446 w 1933575"/>
              <a:gd name="connsiteY335" fmla="*/ 1449998 h 1590675"/>
              <a:gd name="connsiteX336" fmla="*/ 922401 w 1933575"/>
              <a:gd name="connsiteY336" fmla="*/ 1480859 h 1590675"/>
              <a:gd name="connsiteX337" fmla="*/ 892207 w 1933575"/>
              <a:gd name="connsiteY337" fmla="*/ 1499718 h 1590675"/>
              <a:gd name="connsiteX338" fmla="*/ 982885 w 1933575"/>
              <a:gd name="connsiteY338" fmla="*/ 1460856 h 1590675"/>
              <a:gd name="connsiteX339" fmla="*/ 1007650 w 1933575"/>
              <a:gd name="connsiteY339" fmla="*/ 1494098 h 1590675"/>
              <a:gd name="connsiteX340" fmla="*/ 971074 w 1933575"/>
              <a:gd name="connsiteY340" fmla="*/ 1516006 h 1590675"/>
              <a:gd name="connsiteX341" fmla="*/ 949928 w 1933575"/>
              <a:gd name="connsiteY341" fmla="*/ 1485526 h 1590675"/>
              <a:gd name="connsiteX342" fmla="*/ 982885 w 1933575"/>
              <a:gd name="connsiteY342" fmla="*/ 1460856 h 1590675"/>
              <a:gd name="connsiteX343" fmla="*/ 915448 w 1933575"/>
              <a:gd name="connsiteY343" fmla="*/ 1368940 h 1590675"/>
              <a:gd name="connsiteX344" fmla="*/ 938975 w 1933575"/>
              <a:gd name="connsiteY344" fmla="*/ 1401706 h 1590675"/>
              <a:gd name="connsiteX345" fmla="*/ 905827 w 1933575"/>
              <a:gd name="connsiteY345" fmla="*/ 1421709 h 1590675"/>
              <a:gd name="connsiteX346" fmla="*/ 884777 w 1933575"/>
              <a:gd name="connsiteY346" fmla="*/ 1391610 h 1590675"/>
              <a:gd name="connsiteX347" fmla="*/ 915448 w 1933575"/>
              <a:gd name="connsiteY347" fmla="*/ 1368940 h 1590675"/>
              <a:gd name="connsiteX348" fmla="*/ 852011 w 1933575"/>
              <a:gd name="connsiteY348" fmla="*/ 1273404 h 1590675"/>
              <a:gd name="connsiteX349" fmla="*/ 875729 w 1933575"/>
              <a:gd name="connsiteY349" fmla="*/ 1306361 h 1590675"/>
              <a:gd name="connsiteX350" fmla="*/ 840772 w 1933575"/>
              <a:gd name="connsiteY350" fmla="*/ 1327697 h 1590675"/>
              <a:gd name="connsiteX351" fmla="*/ 819150 w 1933575"/>
              <a:gd name="connsiteY351" fmla="*/ 1297693 h 1590675"/>
              <a:gd name="connsiteX352" fmla="*/ 852011 w 1933575"/>
              <a:gd name="connsiteY352" fmla="*/ 1273404 h 1590675"/>
              <a:gd name="connsiteX353" fmla="*/ 835914 w 1933575"/>
              <a:gd name="connsiteY353" fmla="*/ 1356081 h 1590675"/>
              <a:gd name="connsiteX354" fmla="*/ 856679 w 1933575"/>
              <a:gd name="connsiteY354" fmla="*/ 1386752 h 1590675"/>
              <a:gd name="connsiteX355" fmla="*/ 827056 w 1933575"/>
              <a:gd name="connsiteY355" fmla="*/ 1405516 h 1590675"/>
              <a:gd name="connsiteX356" fmla="*/ 807244 w 1933575"/>
              <a:gd name="connsiteY356" fmla="*/ 1377608 h 1590675"/>
              <a:gd name="connsiteX357" fmla="*/ 835914 w 1933575"/>
              <a:gd name="connsiteY357" fmla="*/ 1356081 h 1590675"/>
              <a:gd name="connsiteX358" fmla="*/ 785051 w 1933575"/>
              <a:gd name="connsiteY358" fmla="*/ 1182250 h 1590675"/>
              <a:gd name="connsiteX359" fmla="*/ 804196 w 1933575"/>
              <a:gd name="connsiteY359" fmla="*/ 1214445 h 1590675"/>
              <a:gd name="connsiteX360" fmla="*/ 774859 w 1933575"/>
              <a:gd name="connsiteY360" fmla="*/ 1235590 h 1590675"/>
              <a:gd name="connsiteX361" fmla="*/ 756952 w 1933575"/>
              <a:gd name="connsiteY361" fmla="*/ 1206158 h 1590675"/>
              <a:gd name="connsiteX362" fmla="*/ 785051 w 1933575"/>
              <a:gd name="connsiteY362" fmla="*/ 1182250 h 1590675"/>
              <a:gd name="connsiteX363" fmla="*/ 719328 w 1933575"/>
              <a:gd name="connsiteY363" fmla="*/ 1077189 h 1590675"/>
              <a:gd name="connsiteX364" fmla="*/ 727043 w 1933575"/>
              <a:gd name="connsiteY364" fmla="*/ 1102621 h 1590675"/>
              <a:gd name="connsiteX365" fmla="*/ 747998 w 1933575"/>
              <a:gd name="connsiteY365" fmla="*/ 1124433 h 1590675"/>
              <a:gd name="connsiteX366" fmla="*/ 711041 w 1933575"/>
              <a:gd name="connsiteY366" fmla="*/ 1146436 h 1590675"/>
              <a:gd name="connsiteX367" fmla="*/ 685514 w 1933575"/>
              <a:gd name="connsiteY367" fmla="*/ 1110813 h 1590675"/>
              <a:gd name="connsiteX368" fmla="*/ 719328 w 1933575"/>
              <a:gd name="connsiteY368" fmla="*/ 1077189 h 1590675"/>
              <a:gd name="connsiteX369" fmla="*/ 705802 w 1933575"/>
              <a:gd name="connsiteY369" fmla="*/ 1169677 h 1590675"/>
              <a:gd name="connsiteX370" fmla="*/ 723233 w 1933575"/>
              <a:gd name="connsiteY370" fmla="*/ 1200157 h 1590675"/>
              <a:gd name="connsiteX371" fmla="*/ 695611 w 1933575"/>
              <a:gd name="connsiteY371" fmla="*/ 1220160 h 1590675"/>
              <a:gd name="connsiteX372" fmla="*/ 675227 w 1933575"/>
              <a:gd name="connsiteY372" fmla="*/ 1192823 h 1590675"/>
              <a:gd name="connsiteX373" fmla="*/ 705802 w 1933575"/>
              <a:gd name="connsiteY373" fmla="*/ 1169677 h 1590675"/>
              <a:gd name="connsiteX374" fmla="*/ 691229 w 1933575"/>
              <a:gd name="connsiteY374" fmla="*/ 1251116 h 1590675"/>
              <a:gd name="connsiteX375" fmla="*/ 710184 w 1933575"/>
              <a:gd name="connsiteY375" fmla="*/ 1278072 h 1590675"/>
              <a:gd name="connsiteX376" fmla="*/ 682085 w 1933575"/>
              <a:gd name="connsiteY376" fmla="*/ 1296550 h 1590675"/>
              <a:gd name="connsiteX377" fmla="*/ 665893 w 1933575"/>
              <a:gd name="connsiteY377" fmla="*/ 1271785 h 1590675"/>
              <a:gd name="connsiteX378" fmla="*/ 691229 w 1933575"/>
              <a:gd name="connsiteY378" fmla="*/ 1251116 h 1590675"/>
              <a:gd name="connsiteX379" fmla="*/ 639985 w 1933575"/>
              <a:gd name="connsiteY379" fmla="*/ 1075665 h 1590675"/>
              <a:gd name="connsiteX380" fmla="*/ 662464 w 1933575"/>
              <a:gd name="connsiteY380" fmla="*/ 1108527 h 1590675"/>
              <a:gd name="connsiteX381" fmla="*/ 630079 w 1933575"/>
              <a:gd name="connsiteY381" fmla="*/ 1128910 h 1590675"/>
              <a:gd name="connsiteX382" fmla="*/ 608648 w 1933575"/>
              <a:gd name="connsiteY382" fmla="*/ 1098525 h 1590675"/>
              <a:gd name="connsiteX383" fmla="*/ 639985 w 1933575"/>
              <a:gd name="connsiteY383" fmla="*/ 1075665 h 1590675"/>
              <a:gd name="connsiteX384" fmla="*/ 575215 w 1933575"/>
              <a:gd name="connsiteY384" fmla="*/ 971176 h 1590675"/>
              <a:gd name="connsiteX385" fmla="*/ 606552 w 1933575"/>
              <a:gd name="connsiteY385" fmla="*/ 1015563 h 1590675"/>
              <a:gd name="connsiteX386" fmla="*/ 565880 w 1933575"/>
              <a:gd name="connsiteY386" fmla="*/ 1039089 h 1590675"/>
              <a:gd name="connsiteX387" fmla="*/ 540449 w 1933575"/>
              <a:gd name="connsiteY387" fmla="*/ 1002609 h 1590675"/>
              <a:gd name="connsiteX388" fmla="*/ 575215 w 1933575"/>
              <a:gd name="connsiteY388" fmla="*/ 971176 h 1590675"/>
              <a:gd name="connsiteX389" fmla="*/ 560261 w 1933575"/>
              <a:gd name="connsiteY389" fmla="*/ 1061759 h 1590675"/>
              <a:gd name="connsiteX390" fmla="*/ 581216 w 1933575"/>
              <a:gd name="connsiteY390" fmla="*/ 1094430 h 1590675"/>
              <a:gd name="connsiteX391" fmla="*/ 550926 w 1933575"/>
              <a:gd name="connsiteY391" fmla="*/ 1113098 h 1590675"/>
              <a:gd name="connsiteX392" fmla="*/ 529876 w 1933575"/>
              <a:gd name="connsiteY392" fmla="*/ 1084523 h 1590675"/>
              <a:gd name="connsiteX393" fmla="*/ 560261 w 1933575"/>
              <a:gd name="connsiteY393" fmla="*/ 1061759 h 1590675"/>
              <a:gd name="connsiteX394" fmla="*/ 497014 w 1933575"/>
              <a:gd name="connsiteY394" fmla="*/ 964413 h 1590675"/>
              <a:gd name="connsiteX395" fmla="*/ 521589 w 1933575"/>
              <a:gd name="connsiteY395" fmla="*/ 999751 h 1590675"/>
              <a:gd name="connsiteX396" fmla="*/ 487109 w 1933575"/>
              <a:gd name="connsiteY396" fmla="*/ 1018325 h 1590675"/>
              <a:gd name="connsiteX397" fmla="*/ 464249 w 1933575"/>
              <a:gd name="connsiteY397" fmla="*/ 990321 h 1590675"/>
              <a:gd name="connsiteX398" fmla="*/ 497014 w 1933575"/>
              <a:gd name="connsiteY398" fmla="*/ 964413 h 1590675"/>
              <a:gd name="connsiteX399" fmla="*/ 481298 w 1933575"/>
              <a:gd name="connsiteY399" fmla="*/ 1051662 h 1590675"/>
              <a:gd name="connsiteX400" fmla="*/ 501301 w 1933575"/>
              <a:gd name="connsiteY400" fmla="*/ 1079475 h 1590675"/>
              <a:gd name="connsiteX401" fmla="*/ 473393 w 1933575"/>
              <a:gd name="connsiteY401" fmla="*/ 1096144 h 1590675"/>
              <a:gd name="connsiteX402" fmla="*/ 453104 w 1933575"/>
              <a:gd name="connsiteY402" fmla="*/ 1069950 h 1590675"/>
              <a:gd name="connsiteX403" fmla="*/ 481298 w 1933575"/>
              <a:gd name="connsiteY403" fmla="*/ 1051662 h 1590675"/>
              <a:gd name="connsiteX404" fmla="*/ 466535 w 1933575"/>
              <a:gd name="connsiteY404" fmla="*/ 1133482 h 1590675"/>
              <a:gd name="connsiteX405" fmla="*/ 485204 w 1933575"/>
              <a:gd name="connsiteY405" fmla="*/ 1159009 h 1590675"/>
              <a:gd name="connsiteX406" fmla="*/ 460724 w 1933575"/>
              <a:gd name="connsiteY406" fmla="*/ 1176249 h 1590675"/>
              <a:gd name="connsiteX407" fmla="*/ 442055 w 1933575"/>
              <a:gd name="connsiteY407" fmla="*/ 1150055 h 1590675"/>
              <a:gd name="connsiteX408" fmla="*/ 466535 w 1933575"/>
              <a:gd name="connsiteY408" fmla="*/ 1133482 h 1590675"/>
              <a:gd name="connsiteX409" fmla="*/ 416052 w 1933575"/>
              <a:gd name="connsiteY409" fmla="*/ 956698 h 1590675"/>
              <a:gd name="connsiteX410" fmla="*/ 439007 w 1933575"/>
              <a:gd name="connsiteY410" fmla="*/ 986511 h 1590675"/>
              <a:gd name="connsiteX411" fmla="*/ 408623 w 1933575"/>
              <a:gd name="connsiteY411" fmla="*/ 1007180 h 1590675"/>
              <a:gd name="connsiteX412" fmla="*/ 385953 w 1933575"/>
              <a:gd name="connsiteY412" fmla="*/ 975653 h 1590675"/>
              <a:gd name="connsiteX413" fmla="*/ 416052 w 1933575"/>
              <a:gd name="connsiteY413" fmla="*/ 956698 h 1590675"/>
              <a:gd name="connsiteX414" fmla="*/ 403765 w 1933575"/>
              <a:gd name="connsiteY414" fmla="*/ 1034613 h 1590675"/>
              <a:gd name="connsiteX415" fmla="*/ 423196 w 1933575"/>
              <a:gd name="connsiteY415" fmla="*/ 1064997 h 1590675"/>
              <a:gd name="connsiteX416" fmla="*/ 394716 w 1933575"/>
              <a:gd name="connsiteY416" fmla="*/ 1083762 h 1590675"/>
              <a:gd name="connsiteX417" fmla="*/ 374523 w 1933575"/>
              <a:gd name="connsiteY417" fmla="*/ 1056234 h 1590675"/>
              <a:gd name="connsiteX418" fmla="*/ 403765 w 1933575"/>
              <a:gd name="connsiteY418" fmla="*/ 1034613 h 1590675"/>
              <a:gd name="connsiteX419" fmla="*/ 388906 w 1933575"/>
              <a:gd name="connsiteY419" fmla="*/ 1117194 h 1590675"/>
              <a:gd name="connsiteX420" fmla="*/ 406718 w 1933575"/>
              <a:gd name="connsiteY420" fmla="*/ 1144055 h 1590675"/>
              <a:gd name="connsiteX421" fmla="*/ 381095 w 1933575"/>
              <a:gd name="connsiteY421" fmla="*/ 1161105 h 1590675"/>
              <a:gd name="connsiteX422" fmla="*/ 362998 w 1933575"/>
              <a:gd name="connsiteY422" fmla="*/ 1136054 h 1590675"/>
              <a:gd name="connsiteX423" fmla="*/ 388906 w 1933575"/>
              <a:gd name="connsiteY423" fmla="*/ 1117194 h 1590675"/>
              <a:gd name="connsiteX424" fmla="*/ 338519 w 1933575"/>
              <a:gd name="connsiteY424" fmla="*/ 938601 h 1590675"/>
              <a:gd name="connsiteX425" fmla="*/ 360521 w 1933575"/>
              <a:gd name="connsiteY425" fmla="*/ 971938 h 1590675"/>
              <a:gd name="connsiteX426" fmla="*/ 328708 w 1933575"/>
              <a:gd name="connsiteY426" fmla="*/ 992512 h 1590675"/>
              <a:gd name="connsiteX427" fmla="*/ 307086 w 1933575"/>
              <a:gd name="connsiteY427" fmla="*/ 962222 h 1590675"/>
              <a:gd name="connsiteX428" fmla="*/ 338519 w 1933575"/>
              <a:gd name="connsiteY428" fmla="*/ 938601 h 1590675"/>
              <a:gd name="connsiteX429" fmla="*/ 324136 w 1933575"/>
              <a:gd name="connsiteY429" fmla="*/ 1020896 h 1590675"/>
              <a:gd name="connsiteX430" fmla="*/ 343186 w 1933575"/>
              <a:gd name="connsiteY430" fmla="*/ 1051091 h 1590675"/>
              <a:gd name="connsiteX431" fmla="*/ 315373 w 1933575"/>
              <a:gd name="connsiteY431" fmla="*/ 1069284 h 1590675"/>
              <a:gd name="connsiteX432" fmla="*/ 295085 w 1933575"/>
              <a:gd name="connsiteY432" fmla="*/ 1042042 h 1590675"/>
              <a:gd name="connsiteX433" fmla="*/ 324136 w 1933575"/>
              <a:gd name="connsiteY433" fmla="*/ 1020896 h 1590675"/>
              <a:gd name="connsiteX434" fmla="*/ 309182 w 1933575"/>
              <a:gd name="connsiteY434" fmla="*/ 1103478 h 1590675"/>
              <a:gd name="connsiteX435" fmla="*/ 326993 w 1933575"/>
              <a:gd name="connsiteY435" fmla="*/ 1129577 h 1590675"/>
              <a:gd name="connsiteX436" fmla="*/ 301371 w 1933575"/>
              <a:gd name="connsiteY436" fmla="*/ 1146531 h 1590675"/>
              <a:gd name="connsiteX437" fmla="*/ 283464 w 1933575"/>
              <a:gd name="connsiteY437" fmla="*/ 1121862 h 1590675"/>
              <a:gd name="connsiteX438" fmla="*/ 309182 w 1933575"/>
              <a:gd name="connsiteY438" fmla="*/ 1103478 h 1590675"/>
              <a:gd name="connsiteX439" fmla="*/ 258985 w 1933575"/>
              <a:gd name="connsiteY439" fmla="*/ 923837 h 1590675"/>
              <a:gd name="connsiteX440" fmla="*/ 280321 w 1933575"/>
              <a:gd name="connsiteY440" fmla="*/ 957936 h 1590675"/>
              <a:gd name="connsiteX441" fmla="*/ 249079 w 1933575"/>
              <a:gd name="connsiteY441" fmla="*/ 978034 h 1590675"/>
              <a:gd name="connsiteX442" fmla="*/ 227457 w 1933575"/>
              <a:gd name="connsiteY442" fmla="*/ 948221 h 1590675"/>
              <a:gd name="connsiteX443" fmla="*/ 258985 w 1933575"/>
              <a:gd name="connsiteY443" fmla="*/ 923837 h 1590675"/>
              <a:gd name="connsiteX444" fmla="*/ 244602 w 1933575"/>
              <a:gd name="connsiteY444" fmla="*/ 1006895 h 1590675"/>
              <a:gd name="connsiteX445" fmla="*/ 263271 w 1933575"/>
              <a:gd name="connsiteY445" fmla="*/ 1036613 h 1590675"/>
              <a:gd name="connsiteX446" fmla="*/ 235649 w 1933575"/>
              <a:gd name="connsiteY446" fmla="*/ 1054996 h 1590675"/>
              <a:gd name="connsiteX447" fmla="*/ 215265 w 1933575"/>
              <a:gd name="connsiteY447" fmla="*/ 1027945 h 1590675"/>
              <a:gd name="connsiteX448" fmla="*/ 244602 w 1933575"/>
              <a:gd name="connsiteY448" fmla="*/ 1006895 h 1590675"/>
              <a:gd name="connsiteX449" fmla="*/ 229362 w 1933575"/>
              <a:gd name="connsiteY449" fmla="*/ 1089477 h 1590675"/>
              <a:gd name="connsiteX450" fmla="*/ 247174 w 1933575"/>
              <a:gd name="connsiteY450" fmla="*/ 1115480 h 1590675"/>
              <a:gd name="connsiteX451" fmla="*/ 221647 w 1933575"/>
              <a:gd name="connsiteY451" fmla="*/ 1132434 h 1590675"/>
              <a:gd name="connsiteX452" fmla="*/ 203930 w 1933575"/>
              <a:gd name="connsiteY452" fmla="*/ 1107669 h 1590675"/>
              <a:gd name="connsiteX453" fmla="*/ 229362 w 1933575"/>
              <a:gd name="connsiteY453" fmla="*/ 1089477 h 1590675"/>
              <a:gd name="connsiteX454" fmla="*/ 179642 w 1933575"/>
              <a:gd name="connsiteY454" fmla="*/ 911454 h 1590675"/>
              <a:gd name="connsiteX455" fmla="*/ 201073 w 1933575"/>
              <a:gd name="connsiteY455" fmla="*/ 943268 h 1590675"/>
              <a:gd name="connsiteX456" fmla="*/ 168878 w 1933575"/>
              <a:gd name="connsiteY456" fmla="*/ 964318 h 1590675"/>
              <a:gd name="connsiteX457" fmla="*/ 151162 w 1933575"/>
              <a:gd name="connsiteY457" fmla="*/ 936124 h 1590675"/>
              <a:gd name="connsiteX458" fmla="*/ 179642 w 1933575"/>
              <a:gd name="connsiteY458" fmla="*/ 911454 h 1590675"/>
              <a:gd name="connsiteX459" fmla="*/ 164687 w 1933575"/>
              <a:gd name="connsiteY459" fmla="*/ 992512 h 1590675"/>
              <a:gd name="connsiteX460" fmla="*/ 183737 w 1933575"/>
              <a:gd name="connsiteY460" fmla="*/ 1022325 h 1590675"/>
              <a:gd name="connsiteX461" fmla="*/ 155924 w 1933575"/>
              <a:gd name="connsiteY461" fmla="*/ 1040899 h 1590675"/>
              <a:gd name="connsiteX462" fmla="*/ 135446 w 1933575"/>
              <a:gd name="connsiteY462" fmla="*/ 1013658 h 1590675"/>
              <a:gd name="connsiteX463" fmla="*/ 164687 w 1933575"/>
              <a:gd name="connsiteY463" fmla="*/ 992512 h 1590675"/>
              <a:gd name="connsiteX464" fmla="*/ 149733 w 1933575"/>
              <a:gd name="connsiteY464" fmla="*/ 1074998 h 1590675"/>
              <a:gd name="connsiteX465" fmla="*/ 167640 w 1933575"/>
              <a:gd name="connsiteY465" fmla="*/ 1101192 h 1590675"/>
              <a:gd name="connsiteX466" fmla="*/ 142113 w 1933575"/>
              <a:gd name="connsiteY466" fmla="*/ 1118242 h 1590675"/>
              <a:gd name="connsiteX467" fmla="*/ 124016 w 1933575"/>
              <a:gd name="connsiteY467" fmla="*/ 1093477 h 1590675"/>
              <a:gd name="connsiteX468" fmla="*/ 149733 w 1933575"/>
              <a:gd name="connsiteY468" fmla="*/ 1074998 h 1590675"/>
              <a:gd name="connsiteX469" fmla="*/ 100108 w 1933575"/>
              <a:gd name="connsiteY469" fmla="*/ 897071 h 1590675"/>
              <a:gd name="connsiteX470" fmla="*/ 117920 w 1933575"/>
              <a:gd name="connsiteY470" fmla="*/ 930123 h 1590675"/>
              <a:gd name="connsiteX471" fmla="*/ 89726 w 1933575"/>
              <a:gd name="connsiteY471" fmla="*/ 951173 h 1590675"/>
              <a:gd name="connsiteX472" fmla="*/ 71247 w 1933575"/>
              <a:gd name="connsiteY472" fmla="*/ 921551 h 1590675"/>
              <a:gd name="connsiteX473" fmla="*/ 100108 w 1933575"/>
              <a:gd name="connsiteY473" fmla="*/ 897071 h 1590675"/>
              <a:gd name="connsiteX474" fmla="*/ 85249 w 1933575"/>
              <a:gd name="connsiteY474" fmla="*/ 977939 h 1590675"/>
              <a:gd name="connsiteX475" fmla="*/ 104204 w 1933575"/>
              <a:gd name="connsiteY475" fmla="*/ 1008228 h 1590675"/>
              <a:gd name="connsiteX476" fmla="*/ 76105 w 1933575"/>
              <a:gd name="connsiteY476" fmla="*/ 1027278 h 1590675"/>
              <a:gd name="connsiteX477" fmla="*/ 55436 w 1933575"/>
              <a:gd name="connsiteY477" fmla="*/ 999370 h 1590675"/>
              <a:gd name="connsiteX478" fmla="*/ 85249 w 1933575"/>
              <a:gd name="connsiteY478" fmla="*/ 977939 h 1590675"/>
              <a:gd name="connsiteX479" fmla="*/ 70390 w 1933575"/>
              <a:gd name="connsiteY479" fmla="*/ 1060521 h 1590675"/>
              <a:gd name="connsiteX480" fmla="*/ 88297 w 1933575"/>
              <a:gd name="connsiteY480" fmla="*/ 1087191 h 1590675"/>
              <a:gd name="connsiteX481" fmla="*/ 62389 w 1933575"/>
              <a:gd name="connsiteY481" fmla="*/ 1104336 h 1590675"/>
              <a:gd name="connsiteX482" fmla="*/ 43625 w 1933575"/>
              <a:gd name="connsiteY482" fmla="*/ 1079285 h 1590675"/>
              <a:gd name="connsiteX483" fmla="*/ 70390 w 1933575"/>
              <a:gd name="connsiteY483" fmla="*/ 1060521 h 1590675"/>
              <a:gd name="connsiteX484" fmla="*/ 55626 w 1933575"/>
              <a:gd name="connsiteY484" fmla="*/ 1142150 h 1590675"/>
              <a:gd name="connsiteX485" fmla="*/ 71723 w 1933575"/>
              <a:gd name="connsiteY485" fmla="*/ 1166248 h 1590675"/>
              <a:gd name="connsiteX486" fmla="*/ 48673 w 1933575"/>
              <a:gd name="connsiteY486" fmla="*/ 1181869 h 1590675"/>
              <a:gd name="connsiteX487" fmla="*/ 32194 w 1933575"/>
              <a:gd name="connsiteY487" fmla="*/ 1159200 h 1590675"/>
              <a:gd name="connsiteX488" fmla="*/ 55626 w 1933575"/>
              <a:gd name="connsiteY488" fmla="*/ 1142150 h 1590675"/>
              <a:gd name="connsiteX489" fmla="*/ 40767 w 1933575"/>
              <a:gd name="connsiteY489" fmla="*/ 1223874 h 1590675"/>
              <a:gd name="connsiteX490" fmla="*/ 55055 w 1933575"/>
              <a:gd name="connsiteY490" fmla="*/ 1245401 h 1590675"/>
              <a:gd name="connsiteX491" fmla="*/ 36767 w 1933575"/>
              <a:gd name="connsiteY491" fmla="*/ 1257117 h 1590675"/>
              <a:gd name="connsiteX492" fmla="*/ 22003 w 1933575"/>
              <a:gd name="connsiteY492" fmla="*/ 1238543 h 1590675"/>
              <a:gd name="connsiteX493" fmla="*/ 40767 w 1933575"/>
              <a:gd name="connsiteY493" fmla="*/ 1223874 h 1590675"/>
              <a:gd name="connsiteX494" fmla="*/ 23717 w 1933575"/>
              <a:gd name="connsiteY494" fmla="*/ 1336841 h 1590675"/>
              <a:gd name="connsiteX495" fmla="*/ 10954 w 1933575"/>
              <a:gd name="connsiteY495" fmla="*/ 1319315 h 1590675"/>
              <a:gd name="connsiteX496" fmla="*/ 26765 w 1933575"/>
              <a:gd name="connsiteY496" fmla="*/ 1307885 h 1590675"/>
              <a:gd name="connsiteX497" fmla="*/ 39529 w 1933575"/>
              <a:gd name="connsiteY497" fmla="*/ 1325125 h 1590675"/>
              <a:gd name="connsiteX498" fmla="*/ 23717 w 1933575"/>
              <a:gd name="connsiteY498" fmla="*/ 1336841 h 1590675"/>
              <a:gd name="connsiteX499" fmla="*/ 931354 w 1933575"/>
              <a:gd name="connsiteY499" fmla="*/ 1278738 h 1590675"/>
              <a:gd name="connsiteX500" fmla="*/ 947166 w 1933575"/>
              <a:gd name="connsiteY500" fmla="*/ 1254640 h 1590675"/>
              <a:gd name="connsiteX501" fmla="*/ 990505 w 1933575"/>
              <a:gd name="connsiteY501" fmla="*/ 1250639 h 1590675"/>
              <a:gd name="connsiteX502" fmla="*/ 1009460 w 1933575"/>
              <a:gd name="connsiteY502" fmla="*/ 1289978 h 1590675"/>
              <a:gd name="connsiteX503" fmla="*/ 979551 w 1933575"/>
              <a:gd name="connsiteY503" fmla="*/ 1321601 h 1590675"/>
              <a:gd name="connsiteX504" fmla="*/ 965645 w 1933575"/>
              <a:gd name="connsiteY504" fmla="*/ 1323792 h 1590675"/>
              <a:gd name="connsiteX505" fmla="*/ 966121 w 1933575"/>
              <a:gd name="connsiteY505" fmla="*/ 1324077 h 1590675"/>
              <a:gd name="connsiteX506" fmla="*/ 931831 w 1933575"/>
              <a:gd name="connsiteY506" fmla="*/ 1278167 h 1590675"/>
              <a:gd name="connsiteX507" fmla="*/ 931354 w 1933575"/>
              <a:gd name="connsiteY507" fmla="*/ 1278738 h 1590675"/>
              <a:gd name="connsiteX508" fmla="*/ 865156 w 1933575"/>
              <a:gd name="connsiteY508" fmla="*/ 1190251 h 1590675"/>
              <a:gd name="connsiteX509" fmla="*/ 909447 w 1933575"/>
              <a:gd name="connsiteY509" fmla="*/ 1150627 h 1590675"/>
              <a:gd name="connsiteX510" fmla="*/ 909066 w 1933575"/>
              <a:gd name="connsiteY510" fmla="*/ 1150341 h 1590675"/>
              <a:gd name="connsiteX511" fmla="*/ 944404 w 1933575"/>
              <a:gd name="connsiteY511" fmla="*/ 1193013 h 1590675"/>
              <a:gd name="connsiteX512" fmla="*/ 908780 w 1933575"/>
              <a:gd name="connsiteY512" fmla="*/ 1228732 h 1590675"/>
              <a:gd name="connsiteX513" fmla="*/ 868871 w 1933575"/>
              <a:gd name="connsiteY513" fmla="*/ 1199776 h 1590675"/>
              <a:gd name="connsiteX514" fmla="*/ 865251 w 1933575"/>
              <a:gd name="connsiteY514" fmla="*/ 1189680 h 1590675"/>
              <a:gd name="connsiteX515" fmla="*/ 865156 w 1933575"/>
              <a:gd name="connsiteY515" fmla="*/ 1190251 h 1590675"/>
              <a:gd name="connsiteX516" fmla="*/ 1076897 w 1933575"/>
              <a:gd name="connsiteY516" fmla="*/ 1381037 h 1590675"/>
              <a:gd name="connsiteX517" fmla="*/ 1028224 w 1933575"/>
              <a:gd name="connsiteY517" fmla="*/ 1415327 h 1590675"/>
              <a:gd name="connsiteX518" fmla="*/ 998411 w 1933575"/>
              <a:gd name="connsiteY518" fmla="*/ 1375798 h 1590675"/>
              <a:gd name="connsiteX519" fmla="*/ 1032605 w 1933575"/>
              <a:gd name="connsiteY519" fmla="*/ 1339889 h 1590675"/>
              <a:gd name="connsiteX520" fmla="*/ 1073658 w 1933575"/>
              <a:gd name="connsiteY520" fmla="*/ 1367511 h 1590675"/>
              <a:gd name="connsiteX521" fmla="*/ 1076516 w 1933575"/>
              <a:gd name="connsiteY521" fmla="*/ 1381418 h 1590675"/>
              <a:gd name="connsiteX522" fmla="*/ 1076897 w 1933575"/>
              <a:gd name="connsiteY522" fmla="*/ 1381037 h 1590675"/>
              <a:gd name="connsiteX523" fmla="*/ 432626 w 1933575"/>
              <a:gd name="connsiteY523" fmla="*/ 856590 h 1590675"/>
              <a:gd name="connsiteX524" fmla="*/ 393859 w 1933575"/>
              <a:gd name="connsiteY524" fmla="*/ 893071 h 1590675"/>
              <a:gd name="connsiteX525" fmla="*/ 356426 w 1933575"/>
              <a:gd name="connsiteY525" fmla="*/ 854971 h 1590675"/>
              <a:gd name="connsiteX526" fmla="*/ 395383 w 1933575"/>
              <a:gd name="connsiteY526" fmla="*/ 816871 h 1590675"/>
              <a:gd name="connsiteX527" fmla="*/ 432626 w 1933575"/>
              <a:gd name="connsiteY527" fmla="*/ 856590 h 1590675"/>
              <a:gd name="connsiteX528" fmla="*/ 433292 w 1933575"/>
              <a:gd name="connsiteY528" fmla="*/ 867639 h 1590675"/>
              <a:gd name="connsiteX529" fmla="*/ 470821 w 1933575"/>
              <a:gd name="connsiteY529" fmla="*/ 831254 h 1590675"/>
              <a:gd name="connsiteX530" fmla="*/ 509207 w 1933575"/>
              <a:gd name="connsiteY530" fmla="*/ 868496 h 1590675"/>
              <a:gd name="connsiteX531" fmla="*/ 472250 w 1933575"/>
              <a:gd name="connsiteY531" fmla="*/ 907168 h 1590675"/>
              <a:gd name="connsiteX532" fmla="*/ 433292 w 1933575"/>
              <a:gd name="connsiteY532" fmla="*/ 867639 h 1590675"/>
              <a:gd name="connsiteX533" fmla="*/ 76105 w 1933575"/>
              <a:gd name="connsiteY533" fmla="*/ 838969 h 1590675"/>
              <a:gd name="connsiteX534" fmla="*/ 38195 w 1933575"/>
              <a:gd name="connsiteY534" fmla="*/ 801345 h 1590675"/>
              <a:gd name="connsiteX535" fmla="*/ 76867 w 1933575"/>
              <a:gd name="connsiteY535" fmla="*/ 763055 h 1590675"/>
              <a:gd name="connsiteX536" fmla="*/ 114110 w 1933575"/>
              <a:gd name="connsiteY536" fmla="*/ 801441 h 1590675"/>
              <a:gd name="connsiteX537" fmla="*/ 76105 w 1933575"/>
              <a:gd name="connsiteY537" fmla="*/ 838969 h 1590675"/>
              <a:gd name="connsiteX538" fmla="*/ 1102424 w 1933575"/>
              <a:gd name="connsiteY538" fmla="*/ 1433805 h 1590675"/>
              <a:gd name="connsiteX539" fmla="*/ 1140238 w 1933575"/>
              <a:gd name="connsiteY539" fmla="*/ 1471620 h 1590675"/>
              <a:gd name="connsiteX540" fmla="*/ 1101376 w 1933575"/>
              <a:gd name="connsiteY540" fmla="*/ 1509720 h 1590675"/>
              <a:gd name="connsiteX541" fmla="*/ 1064324 w 1933575"/>
              <a:gd name="connsiteY541" fmla="*/ 1471239 h 1590675"/>
              <a:gd name="connsiteX542" fmla="*/ 1102424 w 1933575"/>
              <a:gd name="connsiteY542" fmla="*/ 1433805 h 1590675"/>
              <a:gd name="connsiteX543" fmla="*/ 733901 w 1933575"/>
              <a:gd name="connsiteY543" fmla="*/ 990893 h 1590675"/>
              <a:gd name="connsiteX544" fmla="*/ 697135 w 1933575"/>
              <a:gd name="connsiteY544" fmla="*/ 1029564 h 1590675"/>
              <a:gd name="connsiteX545" fmla="*/ 657701 w 1933575"/>
              <a:gd name="connsiteY545" fmla="*/ 992036 h 1590675"/>
              <a:gd name="connsiteX546" fmla="*/ 695897 w 1933575"/>
              <a:gd name="connsiteY546" fmla="*/ 953364 h 1590675"/>
              <a:gd name="connsiteX547" fmla="*/ 733901 w 1933575"/>
              <a:gd name="connsiteY547" fmla="*/ 990893 h 1590675"/>
              <a:gd name="connsiteX548" fmla="*/ 878872 w 1933575"/>
              <a:gd name="connsiteY548" fmla="*/ 1099764 h 1590675"/>
              <a:gd name="connsiteX549" fmla="*/ 839724 w 1933575"/>
              <a:gd name="connsiteY549" fmla="*/ 1137578 h 1590675"/>
              <a:gd name="connsiteX550" fmla="*/ 802672 w 1933575"/>
              <a:gd name="connsiteY550" fmla="*/ 1099192 h 1590675"/>
              <a:gd name="connsiteX551" fmla="*/ 841820 w 1933575"/>
              <a:gd name="connsiteY551" fmla="*/ 1061378 h 1590675"/>
              <a:gd name="connsiteX552" fmla="*/ 878872 w 1933575"/>
              <a:gd name="connsiteY552" fmla="*/ 1099764 h 1590675"/>
              <a:gd name="connsiteX553" fmla="*/ 193834 w 1933575"/>
              <a:gd name="connsiteY553" fmla="*/ 814680 h 1590675"/>
              <a:gd name="connsiteX554" fmla="*/ 156972 w 1933575"/>
              <a:gd name="connsiteY554" fmla="*/ 853352 h 1590675"/>
              <a:gd name="connsiteX555" fmla="*/ 117634 w 1933575"/>
              <a:gd name="connsiteY555" fmla="*/ 815823 h 1590675"/>
              <a:gd name="connsiteX556" fmla="*/ 155924 w 1933575"/>
              <a:gd name="connsiteY556" fmla="*/ 777152 h 1590675"/>
              <a:gd name="connsiteX557" fmla="*/ 193834 w 1933575"/>
              <a:gd name="connsiteY557" fmla="*/ 814680 h 1590675"/>
              <a:gd name="connsiteX558" fmla="*/ 588550 w 1933575"/>
              <a:gd name="connsiteY558" fmla="*/ 884118 h 1590675"/>
              <a:gd name="connsiteX559" fmla="*/ 550259 w 1933575"/>
              <a:gd name="connsiteY559" fmla="*/ 921170 h 1590675"/>
              <a:gd name="connsiteX560" fmla="*/ 513207 w 1933575"/>
              <a:gd name="connsiteY560" fmla="*/ 882879 h 1590675"/>
              <a:gd name="connsiteX561" fmla="*/ 551498 w 1933575"/>
              <a:gd name="connsiteY561" fmla="*/ 845827 h 1590675"/>
              <a:gd name="connsiteX562" fmla="*/ 588550 w 1933575"/>
              <a:gd name="connsiteY562" fmla="*/ 884118 h 1590675"/>
              <a:gd name="connsiteX563" fmla="*/ 775716 w 1933575"/>
              <a:gd name="connsiteY563" fmla="*/ 1043185 h 1590675"/>
              <a:gd name="connsiteX564" fmla="*/ 737902 w 1933575"/>
              <a:gd name="connsiteY564" fmla="*/ 1005656 h 1590675"/>
              <a:gd name="connsiteX565" fmla="*/ 775811 w 1933575"/>
              <a:gd name="connsiteY565" fmla="*/ 968223 h 1590675"/>
              <a:gd name="connsiteX566" fmla="*/ 812864 w 1933575"/>
              <a:gd name="connsiteY566" fmla="*/ 1004990 h 1590675"/>
              <a:gd name="connsiteX567" fmla="*/ 775716 w 1933575"/>
              <a:gd name="connsiteY567" fmla="*/ 1043185 h 1590675"/>
              <a:gd name="connsiteX568" fmla="*/ 34195 w 1933575"/>
              <a:gd name="connsiteY568" fmla="*/ 786201 h 1590675"/>
              <a:gd name="connsiteX569" fmla="*/ 95 w 1933575"/>
              <a:gd name="connsiteY569" fmla="*/ 824110 h 1590675"/>
              <a:gd name="connsiteX570" fmla="*/ 95 w 1933575"/>
              <a:gd name="connsiteY570" fmla="*/ 749625 h 1590675"/>
              <a:gd name="connsiteX571" fmla="*/ 34195 w 1933575"/>
              <a:gd name="connsiteY571" fmla="*/ 786201 h 1590675"/>
              <a:gd name="connsiteX572" fmla="*/ 909447 w 1933575"/>
              <a:gd name="connsiteY572" fmla="*/ 1150627 h 1590675"/>
              <a:gd name="connsiteX573" fmla="*/ 882968 w 1933575"/>
              <a:gd name="connsiteY573" fmla="*/ 1113956 h 1590675"/>
              <a:gd name="connsiteX574" fmla="*/ 919163 w 1933575"/>
              <a:gd name="connsiteY574" fmla="*/ 1076332 h 1590675"/>
              <a:gd name="connsiteX575" fmla="*/ 957548 w 1933575"/>
              <a:gd name="connsiteY575" fmla="*/ 1111670 h 1590675"/>
              <a:gd name="connsiteX576" fmla="*/ 923163 w 1933575"/>
              <a:gd name="connsiteY576" fmla="*/ 1150818 h 1590675"/>
              <a:gd name="connsiteX577" fmla="*/ 909161 w 1933575"/>
              <a:gd name="connsiteY577" fmla="*/ 1150341 h 1590675"/>
              <a:gd name="connsiteX578" fmla="*/ 909447 w 1933575"/>
              <a:gd name="connsiteY578" fmla="*/ 1150627 h 1590675"/>
              <a:gd name="connsiteX579" fmla="*/ 985838 w 1933575"/>
              <a:gd name="connsiteY579" fmla="*/ 1241972 h 1590675"/>
              <a:gd name="connsiteX580" fmla="*/ 948309 w 1933575"/>
              <a:gd name="connsiteY580" fmla="*/ 1204443 h 1590675"/>
              <a:gd name="connsiteX581" fmla="*/ 986219 w 1933575"/>
              <a:gd name="connsiteY581" fmla="*/ 1167201 h 1590675"/>
              <a:gd name="connsiteX582" fmla="*/ 1023080 w 1933575"/>
              <a:gd name="connsiteY582" fmla="*/ 1204062 h 1590675"/>
              <a:gd name="connsiteX583" fmla="*/ 985838 w 1933575"/>
              <a:gd name="connsiteY583" fmla="*/ 1241972 h 1590675"/>
              <a:gd name="connsiteX584" fmla="*/ 1076611 w 1933575"/>
              <a:gd name="connsiteY584" fmla="*/ 1381418 h 1590675"/>
              <a:gd name="connsiteX585" fmla="*/ 1113282 w 1933575"/>
              <a:gd name="connsiteY585" fmla="*/ 1354938 h 1590675"/>
              <a:gd name="connsiteX586" fmla="*/ 1150906 w 1933575"/>
              <a:gd name="connsiteY586" fmla="*/ 1391133 h 1590675"/>
              <a:gd name="connsiteX587" fmla="*/ 1115568 w 1933575"/>
              <a:gd name="connsiteY587" fmla="*/ 1429519 h 1590675"/>
              <a:gd name="connsiteX588" fmla="*/ 1076420 w 1933575"/>
              <a:gd name="connsiteY588" fmla="*/ 1395134 h 1590675"/>
              <a:gd name="connsiteX589" fmla="*/ 1076897 w 1933575"/>
              <a:gd name="connsiteY589" fmla="*/ 1381132 h 1590675"/>
              <a:gd name="connsiteX590" fmla="*/ 1076611 w 1933575"/>
              <a:gd name="connsiteY590" fmla="*/ 1381418 h 1590675"/>
              <a:gd name="connsiteX591" fmla="*/ 667702 w 1933575"/>
              <a:gd name="connsiteY591" fmla="*/ 897929 h 1590675"/>
              <a:gd name="connsiteX592" fmla="*/ 629412 w 1933575"/>
              <a:gd name="connsiteY592" fmla="*/ 934981 h 1590675"/>
              <a:gd name="connsiteX593" fmla="*/ 593027 w 1933575"/>
              <a:gd name="connsiteY593" fmla="*/ 897453 h 1590675"/>
              <a:gd name="connsiteX594" fmla="*/ 631317 w 1933575"/>
              <a:gd name="connsiteY594" fmla="*/ 860400 h 1590675"/>
              <a:gd name="connsiteX595" fmla="*/ 667702 w 1933575"/>
              <a:gd name="connsiteY595" fmla="*/ 897929 h 1590675"/>
              <a:gd name="connsiteX596" fmla="*/ 1051655 w 1933575"/>
              <a:gd name="connsiteY596" fmla="*/ 1261022 h 1590675"/>
              <a:gd name="connsiteX597" fmla="*/ 1088422 w 1933575"/>
              <a:gd name="connsiteY597" fmla="*/ 1299312 h 1590675"/>
              <a:gd name="connsiteX598" fmla="*/ 1049750 w 1933575"/>
              <a:gd name="connsiteY598" fmla="*/ 1335698 h 1590675"/>
              <a:gd name="connsiteX599" fmla="*/ 1013651 w 1933575"/>
              <a:gd name="connsiteY599" fmla="*/ 1298074 h 1590675"/>
              <a:gd name="connsiteX600" fmla="*/ 1051655 w 1933575"/>
              <a:gd name="connsiteY600" fmla="*/ 1261022 h 1590675"/>
              <a:gd name="connsiteX601" fmla="*/ 709327 w 1933575"/>
              <a:gd name="connsiteY601" fmla="*/ 948888 h 1590675"/>
              <a:gd name="connsiteX602" fmla="*/ 673037 w 1933575"/>
              <a:gd name="connsiteY602" fmla="*/ 911550 h 1590675"/>
              <a:gd name="connsiteX603" fmla="*/ 711422 w 1933575"/>
              <a:gd name="connsiteY603" fmla="*/ 874878 h 1590675"/>
              <a:gd name="connsiteX604" fmla="*/ 747046 w 1933575"/>
              <a:gd name="connsiteY604" fmla="*/ 912978 h 1590675"/>
              <a:gd name="connsiteX605" fmla="*/ 709327 w 1933575"/>
              <a:gd name="connsiteY605" fmla="*/ 948888 h 1590675"/>
              <a:gd name="connsiteX606" fmla="*/ 249365 w 1933575"/>
              <a:gd name="connsiteY606" fmla="*/ 786867 h 1590675"/>
              <a:gd name="connsiteX607" fmla="*/ 212503 w 1933575"/>
              <a:gd name="connsiteY607" fmla="*/ 750101 h 1590675"/>
              <a:gd name="connsiteX608" fmla="*/ 250317 w 1933575"/>
              <a:gd name="connsiteY608" fmla="*/ 712858 h 1590675"/>
              <a:gd name="connsiteX609" fmla="*/ 286512 w 1933575"/>
              <a:gd name="connsiteY609" fmla="*/ 750387 h 1590675"/>
              <a:gd name="connsiteX610" fmla="*/ 249365 w 1933575"/>
              <a:gd name="connsiteY610" fmla="*/ 786867 h 1590675"/>
              <a:gd name="connsiteX611" fmla="*/ 206883 w 1933575"/>
              <a:gd name="connsiteY611" fmla="*/ 735146 h 1590675"/>
              <a:gd name="connsiteX612" fmla="*/ 170402 w 1933575"/>
              <a:gd name="connsiteY612" fmla="*/ 772580 h 1590675"/>
              <a:gd name="connsiteX613" fmla="*/ 132969 w 1933575"/>
              <a:gd name="connsiteY613" fmla="*/ 736099 h 1590675"/>
              <a:gd name="connsiteX614" fmla="*/ 169450 w 1933575"/>
              <a:gd name="connsiteY614" fmla="*/ 698666 h 1590675"/>
              <a:gd name="connsiteX615" fmla="*/ 206883 w 1933575"/>
              <a:gd name="connsiteY615" fmla="*/ 735146 h 1590675"/>
              <a:gd name="connsiteX616" fmla="*/ 485585 w 1933575"/>
              <a:gd name="connsiteY616" fmla="*/ 755625 h 1590675"/>
              <a:gd name="connsiteX617" fmla="*/ 522351 w 1933575"/>
              <a:gd name="connsiteY617" fmla="*/ 792678 h 1590675"/>
              <a:gd name="connsiteX618" fmla="*/ 485299 w 1933575"/>
              <a:gd name="connsiteY618" fmla="*/ 829444 h 1590675"/>
              <a:gd name="connsiteX619" fmla="*/ 448532 w 1933575"/>
              <a:gd name="connsiteY619" fmla="*/ 792392 h 1590675"/>
              <a:gd name="connsiteX620" fmla="*/ 485585 w 1933575"/>
              <a:gd name="connsiteY620" fmla="*/ 755625 h 1590675"/>
              <a:gd name="connsiteX621" fmla="*/ 403955 w 1933575"/>
              <a:gd name="connsiteY621" fmla="*/ 815442 h 1590675"/>
              <a:gd name="connsiteX622" fmla="*/ 368808 w 1933575"/>
              <a:gd name="connsiteY622" fmla="*/ 778390 h 1590675"/>
              <a:gd name="connsiteX623" fmla="*/ 405479 w 1933575"/>
              <a:gd name="connsiteY623" fmla="*/ 741243 h 1590675"/>
              <a:gd name="connsiteX624" fmla="*/ 442913 w 1933575"/>
              <a:gd name="connsiteY624" fmla="*/ 777628 h 1590675"/>
              <a:gd name="connsiteX625" fmla="*/ 403955 w 1933575"/>
              <a:gd name="connsiteY625" fmla="*/ 815442 h 1590675"/>
              <a:gd name="connsiteX626" fmla="*/ 1179671 w 1933575"/>
              <a:gd name="connsiteY626" fmla="*/ 1523055 h 1590675"/>
              <a:gd name="connsiteX627" fmla="*/ 1141952 w 1933575"/>
              <a:gd name="connsiteY627" fmla="*/ 1485621 h 1590675"/>
              <a:gd name="connsiteX628" fmla="*/ 1178909 w 1933575"/>
              <a:gd name="connsiteY628" fmla="*/ 1448950 h 1590675"/>
              <a:gd name="connsiteX629" fmla="*/ 1215962 w 1933575"/>
              <a:gd name="connsiteY629" fmla="*/ 1485621 h 1590675"/>
              <a:gd name="connsiteX630" fmla="*/ 1179671 w 1933575"/>
              <a:gd name="connsiteY630" fmla="*/ 1523055 h 1590675"/>
              <a:gd name="connsiteX631" fmla="*/ 328898 w 1933575"/>
              <a:gd name="connsiteY631" fmla="*/ 801060 h 1590675"/>
              <a:gd name="connsiteX632" fmla="*/ 292037 w 1933575"/>
              <a:gd name="connsiteY632" fmla="*/ 764198 h 1590675"/>
              <a:gd name="connsiteX633" fmla="*/ 329946 w 1933575"/>
              <a:gd name="connsiteY633" fmla="*/ 727050 h 1590675"/>
              <a:gd name="connsiteX634" fmla="*/ 366046 w 1933575"/>
              <a:gd name="connsiteY634" fmla="*/ 764579 h 1590675"/>
              <a:gd name="connsiteX635" fmla="*/ 328898 w 1933575"/>
              <a:gd name="connsiteY635" fmla="*/ 801060 h 1590675"/>
              <a:gd name="connsiteX636" fmla="*/ 855059 w 1933575"/>
              <a:gd name="connsiteY636" fmla="*/ 1056901 h 1590675"/>
              <a:gd name="connsiteX637" fmla="*/ 817912 w 1933575"/>
              <a:gd name="connsiteY637" fmla="*/ 1020420 h 1590675"/>
              <a:gd name="connsiteX638" fmla="*/ 855440 w 1933575"/>
              <a:gd name="connsiteY638" fmla="*/ 982892 h 1590675"/>
              <a:gd name="connsiteX639" fmla="*/ 891921 w 1933575"/>
              <a:gd name="connsiteY639" fmla="*/ 1020135 h 1590675"/>
              <a:gd name="connsiteX640" fmla="*/ 855059 w 1933575"/>
              <a:gd name="connsiteY640" fmla="*/ 1056901 h 1590675"/>
              <a:gd name="connsiteX641" fmla="*/ 1164527 w 1933575"/>
              <a:gd name="connsiteY641" fmla="*/ 1312933 h 1590675"/>
              <a:gd name="connsiteX642" fmla="*/ 1127093 w 1933575"/>
              <a:gd name="connsiteY642" fmla="*/ 1349414 h 1590675"/>
              <a:gd name="connsiteX643" fmla="*/ 1090994 w 1933575"/>
              <a:gd name="connsiteY643" fmla="*/ 1311695 h 1590675"/>
              <a:gd name="connsiteX644" fmla="*/ 1127665 w 1933575"/>
              <a:gd name="connsiteY644" fmla="*/ 1275881 h 1590675"/>
              <a:gd name="connsiteX645" fmla="*/ 1164527 w 1933575"/>
              <a:gd name="connsiteY645" fmla="*/ 1312933 h 1590675"/>
              <a:gd name="connsiteX646" fmla="*/ 1033748 w 1933575"/>
              <a:gd name="connsiteY646" fmla="*/ 1129863 h 1590675"/>
              <a:gd name="connsiteX647" fmla="*/ 994696 w 1933575"/>
              <a:gd name="connsiteY647" fmla="*/ 1164629 h 1590675"/>
              <a:gd name="connsiteX648" fmla="*/ 960406 w 1933575"/>
              <a:gd name="connsiteY648" fmla="*/ 1125195 h 1590675"/>
              <a:gd name="connsiteX649" fmla="*/ 998696 w 1933575"/>
              <a:gd name="connsiteY649" fmla="*/ 1091191 h 1590675"/>
              <a:gd name="connsiteX650" fmla="*/ 1033748 w 1933575"/>
              <a:gd name="connsiteY650" fmla="*/ 1129863 h 1590675"/>
              <a:gd name="connsiteX651" fmla="*/ 91535 w 1933575"/>
              <a:gd name="connsiteY651" fmla="*/ 684569 h 1590675"/>
              <a:gd name="connsiteX652" fmla="*/ 127254 w 1933575"/>
              <a:gd name="connsiteY652" fmla="*/ 722859 h 1590675"/>
              <a:gd name="connsiteX653" fmla="*/ 88583 w 1933575"/>
              <a:gd name="connsiteY653" fmla="*/ 758197 h 1590675"/>
              <a:gd name="connsiteX654" fmla="*/ 53626 w 1933575"/>
              <a:gd name="connsiteY654" fmla="*/ 720573 h 1590675"/>
              <a:gd name="connsiteX655" fmla="*/ 91535 w 1933575"/>
              <a:gd name="connsiteY655" fmla="*/ 684569 h 1590675"/>
              <a:gd name="connsiteX656" fmla="*/ 1099280 w 1933575"/>
              <a:gd name="connsiteY656" fmla="*/ 1218921 h 1590675"/>
              <a:gd name="connsiteX657" fmla="*/ 1061942 w 1933575"/>
              <a:gd name="connsiteY657" fmla="*/ 1255593 h 1590675"/>
              <a:gd name="connsiteX658" fmla="*/ 1025557 w 1933575"/>
              <a:gd name="connsiteY658" fmla="*/ 1217969 h 1590675"/>
              <a:gd name="connsiteX659" fmla="*/ 1062133 w 1933575"/>
              <a:gd name="connsiteY659" fmla="*/ 1181964 h 1590675"/>
              <a:gd name="connsiteX660" fmla="*/ 1099280 w 1933575"/>
              <a:gd name="connsiteY660" fmla="*/ 1218921 h 1590675"/>
              <a:gd name="connsiteX661" fmla="*/ 971074 w 1933575"/>
              <a:gd name="connsiteY661" fmla="*/ 1034803 h 1590675"/>
              <a:gd name="connsiteX662" fmla="*/ 934212 w 1933575"/>
              <a:gd name="connsiteY662" fmla="*/ 1070617 h 1590675"/>
              <a:gd name="connsiteX663" fmla="*/ 898017 w 1933575"/>
              <a:gd name="connsiteY663" fmla="*/ 1032708 h 1590675"/>
              <a:gd name="connsiteX664" fmla="*/ 935546 w 1933575"/>
              <a:gd name="connsiteY664" fmla="*/ 997560 h 1590675"/>
              <a:gd name="connsiteX665" fmla="*/ 971074 w 1933575"/>
              <a:gd name="connsiteY665" fmla="*/ 1034803 h 1590675"/>
              <a:gd name="connsiteX666" fmla="*/ 47434 w 1933575"/>
              <a:gd name="connsiteY666" fmla="*/ 707524 h 1590675"/>
              <a:gd name="connsiteX667" fmla="*/ 9716 w 1933575"/>
              <a:gd name="connsiteY667" fmla="*/ 743910 h 1590675"/>
              <a:gd name="connsiteX668" fmla="*/ 0 w 1933575"/>
              <a:gd name="connsiteY668" fmla="*/ 742100 h 1590675"/>
              <a:gd name="connsiteX669" fmla="*/ 0 w 1933575"/>
              <a:gd name="connsiteY669" fmla="*/ 672377 h 1590675"/>
              <a:gd name="connsiteX670" fmla="*/ 11716 w 1933575"/>
              <a:gd name="connsiteY670" fmla="*/ 670567 h 1590675"/>
              <a:gd name="connsiteX671" fmla="*/ 47434 w 1933575"/>
              <a:gd name="connsiteY671" fmla="*/ 707524 h 1590675"/>
              <a:gd name="connsiteX672" fmla="*/ 1210437 w 1933575"/>
              <a:gd name="connsiteY672" fmla="*/ 1590587 h 1590675"/>
              <a:gd name="connsiteX673" fmla="*/ 1207675 w 1933575"/>
              <a:gd name="connsiteY673" fmla="*/ 1577061 h 1590675"/>
              <a:gd name="connsiteX674" fmla="*/ 1245013 w 1933575"/>
              <a:gd name="connsiteY674" fmla="*/ 1540390 h 1590675"/>
              <a:gd name="connsiteX675" fmla="*/ 1281017 w 1933575"/>
              <a:gd name="connsiteY675" fmla="*/ 1577061 h 1590675"/>
              <a:gd name="connsiteX676" fmla="*/ 1278255 w 1933575"/>
              <a:gd name="connsiteY676" fmla="*/ 1590682 h 1590675"/>
              <a:gd name="connsiteX677" fmla="*/ 1210437 w 1933575"/>
              <a:gd name="connsiteY677" fmla="*/ 1590682 h 1590675"/>
              <a:gd name="connsiteX678" fmla="*/ 1229678 w 1933575"/>
              <a:gd name="connsiteY678" fmla="*/ 1406183 h 1590675"/>
              <a:gd name="connsiteX679" fmla="*/ 1193768 w 1933575"/>
              <a:gd name="connsiteY679" fmla="*/ 1442949 h 1590675"/>
              <a:gd name="connsiteX680" fmla="*/ 1156716 w 1933575"/>
              <a:gd name="connsiteY680" fmla="*/ 1405992 h 1590675"/>
              <a:gd name="connsiteX681" fmla="*/ 1193387 w 1933575"/>
              <a:gd name="connsiteY681" fmla="*/ 1369988 h 1590675"/>
              <a:gd name="connsiteX682" fmla="*/ 1229678 w 1933575"/>
              <a:gd name="connsiteY682" fmla="*/ 1406183 h 1590675"/>
              <a:gd name="connsiteX683" fmla="*/ 644557 w 1933575"/>
              <a:gd name="connsiteY683" fmla="*/ 854495 h 1590675"/>
              <a:gd name="connsiteX684" fmla="*/ 608171 w 1933575"/>
              <a:gd name="connsiteY684" fmla="*/ 818395 h 1590675"/>
              <a:gd name="connsiteX685" fmla="*/ 645319 w 1933575"/>
              <a:gd name="connsiteY685" fmla="*/ 781629 h 1590675"/>
              <a:gd name="connsiteX686" fmla="*/ 681038 w 1933575"/>
              <a:gd name="connsiteY686" fmla="*/ 818395 h 1590675"/>
              <a:gd name="connsiteX687" fmla="*/ 644557 w 1933575"/>
              <a:gd name="connsiteY687" fmla="*/ 854495 h 1590675"/>
              <a:gd name="connsiteX688" fmla="*/ 826199 w 1933575"/>
              <a:gd name="connsiteY688" fmla="*/ 927552 h 1590675"/>
              <a:gd name="connsiteX689" fmla="*/ 787337 w 1933575"/>
              <a:gd name="connsiteY689" fmla="*/ 962699 h 1590675"/>
              <a:gd name="connsiteX690" fmla="*/ 752856 w 1933575"/>
              <a:gd name="connsiteY690" fmla="*/ 924599 h 1590675"/>
              <a:gd name="connsiteX691" fmla="*/ 791718 w 1933575"/>
              <a:gd name="connsiteY691" fmla="*/ 889452 h 1590675"/>
              <a:gd name="connsiteX692" fmla="*/ 826199 w 1933575"/>
              <a:gd name="connsiteY692" fmla="*/ 927552 h 1590675"/>
              <a:gd name="connsiteX693" fmla="*/ 563023 w 1933575"/>
              <a:gd name="connsiteY693" fmla="*/ 840493 h 1590675"/>
              <a:gd name="connsiteX694" fmla="*/ 528447 w 1933575"/>
              <a:gd name="connsiteY694" fmla="*/ 801155 h 1590675"/>
              <a:gd name="connsiteX695" fmla="*/ 567023 w 1933575"/>
              <a:gd name="connsiteY695" fmla="*/ 767246 h 1590675"/>
              <a:gd name="connsiteX696" fmla="*/ 601599 w 1933575"/>
              <a:gd name="connsiteY696" fmla="*/ 806584 h 1590675"/>
              <a:gd name="connsiteX697" fmla="*/ 563023 w 1933575"/>
              <a:gd name="connsiteY697" fmla="*/ 840493 h 1590675"/>
              <a:gd name="connsiteX698" fmla="*/ 1258157 w 1933575"/>
              <a:gd name="connsiteY698" fmla="*/ 1536294 h 1590675"/>
              <a:gd name="connsiteX699" fmla="*/ 1222534 w 1933575"/>
              <a:gd name="connsiteY699" fmla="*/ 1499528 h 1590675"/>
              <a:gd name="connsiteX700" fmla="*/ 1259681 w 1933575"/>
              <a:gd name="connsiteY700" fmla="*/ 1464285 h 1590675"/>
              <a:gd name="connsiteX701" fmla="*/ 1294638 w 1933575"/>
              <a:gd name="connsiteY701" fmla="*/ 1500385 h 1590675"/>
              <a:gd name="connsiteX702" fmla="*/ 1258157 w 1933575"/>
              <a:gd name="connsiteY702" fmla="*/ 1536294 h 1590675"/>
              <a:gd name="connsiteX703" fmla="*/ 905161 w 1933575"/>
              <a:gd name="connsiteY703" fmla="*/ 939839 h 1590675"/>
              <a:gd name="connsiteX704" fmla="*/ 869252 w 1933575"/>
              <a:gd name="connsiteY704" fmla="*/ 976320 h 1590675"/>
              <a:gd name="connsiteX705" fmla="*/ 833152 w 1933575"/>
              <a:gd name="connsiteY705" fmla="*/ 940029 h 1590675"/>
              <a:gd name="connsiteX706" fmla="*/ 868394 w 1933575"/>
              <a:gd name="connsiteY706" fmla="*/ 904311 h 1590675"/>
              <a:gd name="connsiteX707" fmla="*/ 905161 w 1933575"/>
              <a:gd name="connsiteY707" fmla="*/ 939839 h 1590675"/>
              <a:gd name="connsiteX708" fmla="*/ 299466 w 1933575"/>
              <a:gd name="connsiteY708" fmla="*/ 669614 h 1590675"/>
              <a:gd name="connsiteX709" fmla="*/ 263747 w 1933575"/>
              <a:gd name="connsiteY709" fmla="*/ 706000 h 1590675"/>
              <a:gd name="connsiteX710" fmla="*/ 228124 w 1933575"/>
              <a:gd name="connsiteY710" fmla="*/ 670948 h 1590675"/>
              <a:gd name="connsiteX711" fmla="*/ 263843 w 1933575"/>
              <a:gd name="connsiteY711" fmla="*/ 634563 h 1590675"/>
              <a:gd name="connsiteX712" fmla="*/ 299466 w 1933575"/>
              <a:gd name="connsiteY712" fmla="*/ 669614 h 1590675"/>
              <a:gd name="connsiteX713" fmla="*/ 1177576 w 1933575"/>
              <a:gd name="connsiteY713" fmla="*/ 1235114 h 1590675"/>
              <a:gd name="connsiteX714" fmla="*/ 1139190 w 1933575"/>
              <a:gd name="connsiteY714" fmla="*/ 1268547 h 1590675"/>
              <a:gd name="connsiteX715" fmla="*/ 1106424 w 1933575"/>
              <a:gd name="connsiteY715" fmla="*/ 1230923 h 1590675"/>
              <a:gd name="connsiteX716" fmla="*/ 1144810 w 1933575"/>
              <a:gd name="connsiteY716" fmla="*/ 1197490 h 1590675"/>
              <a:gd name="connsiteX717" fmla="*/ 1177576 w 1933575"/>
              <a:gd name="connsiteY717" fmla="*/ 1235114 h 1590675"/>
              <a:gd name="connsiteX718" fmla="*/ 724948 w 1933575"/>
              <a:gd name="connsiteY718" fmla="*/ 868020 h 1590675"/>
              <a:gd name="connsiteX719" fmla="*/ 688562 w 1933575"/>
              <a:gd name="connsiteY719" fmla="*/ 832302 h 1590675"/>
              <a:gd name="connsiteX720" fmla="*/ 723519 w 1933575"/>
              <a:gd name="connsiteY720" fmla="*/ 796583 h 1590675"/>
              <a:gd name="connsiteX721" fmla="*/ 759904 w 1933575"/>
              <a:gd name="connsiteY721" fmla="*/ 832302 h 1590675"/>
              <a:gd name="connsiteX722" fmla="*/ 724948 w 1933575"/>
              <a:gd name="connsiteY722" fmla="*/ 868020 h 1590675"/>
              <a:gd name="connsiteX723" fmla="*/ 1112234 w 1933575"/>
              <a:gd name="connsiteY723" fmla="*/ 1141293 h 1590675"/>
              <a:gd name="connsiteX724" fmla="*/ 1073944 w 1933575"/>
              <a:gd name="connsiteY724" fmla="*/ 1174821 h 1590675"/>
              <a:gd name="connsiteX725" fmla="*/ 1041083 w 1933575"/>
              <a:gd name="connsiteY725" fmla="*/ 1137292 h 1590675"/>
              <a:gd name="connsiteX726" fmla="*/ 1079373 w 1933575"/>
              <a:gd name="connsiteY726" fmla="*/ 1103764 h 1590675"/>
              <a:gd name="connsiteX727" fmla="*/ 1112234 w 1933575"/>
              <a:gd name="connsiteY727" fmla="*/ 1141293 h 1590675"/>
              <a:gd name="connsiteX728" fmla="*/ 219647 w 1933575"/>
              <a:gd name="connsiteY728" fmla="*/ 656279 h 1590675"/>
              <a:gd name="connsiteX729" fmla="*/ 184309 w 1933575"/>
              <a:gd name="connsiteY729" fmla="*/ 691522 h 1590675"/>
              <a:gd name="connsiteX730" fmla="*/ 148685 w 1933575"/>
              <a:gd name="connsiteY730" fmla="*/ 655137 h 1590675"/>
              <a:gd name="connsiteX731" fmla="*/ 184690 w 1933575"/>
              <a:gd name="connsiteY731" fmla="*/ 620561 h 1590675"/>
              <a:gd name="connsiteX732" fmla="*/ 219647 w 1933575"/>
              <a:gd name="connsiteY732" fmla="*/ 656279 h 1590675"/>
              <a:gd name="connsiteX733" fmla="*/ 376047 w 1933575"/>
              <a:gd name="connsiteY733" fmla="*/ 686569 h 1590675"/>
              <a:gd name="connsiteX734" fmla="*/ 337661 w 1933575"/>
              <a:gd name="connsiteY734" fmla="*/ 720002 h 1590675"/>
              <a:gd name="connsiteX735" fmla="*/ 304895 w 1933575"/>
              <a:gd name="connsiteY735" fmla="*/ 682378 h 1590675"/>
              <a:gd name="connsiteX736" fmla="*/ 343281 w 1933575"/>
              <a:gd name="connsiteY736" fmla="*/ 648945 h 1590675"/>
              <a:gd name="connsiteX737" fmla="*/ 376047 w 1933575"/>
              <a:gd name="connsiteY737" fmla="*/ 686569 h 1590675"/>
              <a:gd name="connsiteX738" fmla="*/ 1011079 w 1933575"/>
              <a:gd name="connsiteY738" fmla="*/ 1083762 h 1590675"/>
              <a:gd name="connsiteX739" fmla="*/ 975836 w 1933575"/>
              <a:gd name="connsiteY739" fmla="*/ 1048424 h 1590675"/>
              <a:gd name="connsiteX740" fmla="*/ 1012222 w 1933575"/>
              <a:gd name="connsiteY740" fmla="*/ 1012800 h 1590675"/>
              <a:gd name="connsiteX741" fmla="*/ 1046798 w 1933575"/>
              <a:gd name="connsiteY741" fmla="*/ 1048805 h 1590675"/>
              <a:gd name="connsiteX742" fmla="*/ 1011079 w 1933575"/>
              <a:gd name="connsiteY742" fmla="*/ 1083762 h 1590675"/>
              <a:gd name="connsiteX743" fmla="*/ 418052 w 1933575"/>
              <a:gd name="connsiteY743" fmla="*/ 734289 h 1590675"/>
              <a:gd name="connsiteX744" fmla="*/ 384620 w 1933575"/>
              <a:gd name="connsiteY744" fmla="*/ 695999 h 1590675"/>
              <a:gd name="connsiteX745" fmla="*/ 422148 w 1933575"/>
              <a:gd name="connsiteY745" fmla="*/ 663138 h 1590675"/>
              <a:gd name="connsiteX746" fmla="*/ 455581 w 1933575"/>
              <a:gd name="connsiteY746" fmla="*/ 701428 h 1590675"/>
              <a:gd name="connsiteX747" fmla="*/ 418052 w 1933575"/>
              <a:gd name="connsiteY747" fmla="*/ 734289 h 1590675"/>
              <a:gd name="connsiteX748" fmla="*/ 980694 w 1933575"/>
              <a:gd name="connsiteY748" fmla="*/ 954031 h 1590675"/>
              <a:gd name="connsiteX749" fmla="*/ 946023 w 1933575"/>
              <a:gd name="connsiteY749" fmla="*/ 989369 h 1590675"/>
              <a:gd name="connsiteX750" fmla="*/ 911066 w 1933575"/>
              <a:gd name="connsiteY750" fmla="*/ 954317 h 1590675"/>
              <a:gd name="connsiteX751" fmla="*/ 944975 w 1933575"/>
              <a:gd name="connsiteY751" fmla="*/ 919741 h 1590675"/>
              <a:gd name="connsiteX752" fmla="*/ 980694 w 1933575"/>
              <a:gd name="connsiteY752" fmla="*/ 954031 h 1590675"/>
              <a:gd name="connsiteX753" fmla="*/ 1289018 w 1933575"/>
              <a:gd name="connsiteY753" fmla="*/ 1590587 h 1590675"/>
              <a:gd name="connsiteX754" fmla="*/ 1289018 w 1933575"/>
              <a:gd name="connsiteY754" fmla="*/ 1590587 h 1590675"/>
              <a:gd name="connsiteX755" fmla="*/ 1324642 w 1933575"/>
              <a:gd name="connsiteY755" fmla="*/ 1556297 h 1590675"/>
              <a:gd name="connsiteX756" fmla="*/ 1358837 w 1933575"/>
              <a:gd name="connsiteY756" fmla="*/ 1590587 h 1590675"/>
              <a:gd name="connsiteX757" fmla="*/ 1289018 w 1933575"/>
              <a:gd name="connsiteY757" fmla="*/ 1590587 h 1590675"/>
              <a:gd name="connsiteX758" fmla="*/ 1271588 w 1933575"/>
              <a:gd name="connsiteY758" fmla="*/ 1455427 h 1590675"/>
              <a:gd name="connsiteX759" fmla="*/ 1237964 w 1933575"/>
              <a:gd name="connsiteY759" fmla="*/ 1419042 h 1590675"/>
              <a:gd name="connsiteX760" fmla="*/ 1274636 w 1933575"/>
              <a:gd name="connsiteY760" fmla="*/ 1385799 h 1590675"/>
              <a:gd name="connsiteX761" fmla="*/ 1307497 w 1933575"/>
              <a:gd name="connsiteY761" fmla="*/ 1421423 h 1590675"/>
              <a:gd name="connsiteX762" fmla="*/ 1271588 w 1933575"/>
              <a:gd name="connsiteY762" fmla="*/ 1455427 h 1590675"/>
              <a:gd name="connsiteX763" fmla="*/ 1242632 w 1933575"/>
              <a:gd name="connsiteY763" fmla="*/ 1326268 h 1590675"/>
              <a:gd name="connsiteX764" fmla="*/ 1208246 w 1933575"/>
              <a:gd name="connsiteY764" fmla="*/ 1362082 h 1590675"/>
              <a:gd name="connsiteX765" fmla="*/ 1172147 w 1933575"/>
              <a:gd name="connsiteY765" fmla="*/ 1326649 h 1590675"/>
              <a:gd name="connsiteX766" fmla="*/ 1207199 w 1933575"/>
              <a:gd name="connsiteY766" fmla="*/ 1291597 h 1590675"/>
              <a:gd name="connsiteX767" fmla="*/ 1242632 w 1933575"/>
              <a:gd name="connsiteY767" fmla="*/ 1326268 h 1590675"/>
              <a:gd name="connsiteX768" fmla="*/ 139637 w 1933575"/>
              <a:gd name="connsiteY768" fmla="*/ 642563 h 1590675"/>
              <a:gd name="connsiteX769" fmla="*/ 103918 w 1933575"/>
              <a:gd name="connsiteY769" fmla="*/ 677044 h 1590675"/>
              <a:gd name="connsiteX770" fmla="*/ 69437 w 1933575"/>
              <a:gd name="connsiteY770" fmla="*/ 641325 h 1590675"/>
              <a:gd name="connsiteX771" fmla="*/ 105156 w 1933575"/>
              <a:gd name="connsiteY771" fmla="*/ 606845 h 1590675"/>
              <a:gd name="connsiteX772" fmla="*/ 139637 w 1933575"/>
              <a:gd name="connsiteY772" fmla="*/ 642563 h 1590675"/>
              <a:gd name="connsiteX773" fmla="*/ 500063 w 1933575"/>
              <a:gd name="connsiteY773" fmla="*/ 748196 h 1590675"/>
              <a:gd name="connsiteX774" fmla="*/ 464344 w 1933575"/>
              <a:gd name="connsiteY774" fmla="*/ 713715 h 1590675"/>
              <a:gd name="connsiteX775" fmla="*/ 499872 w 1933575"/>
              <a:gd name="connsiteY775" fmla="*/ 677616 h 1590675"/>
              <a:gd name="connsiteX776" fmla="*/ 534829 w 1933575"/>
              <a:gd name="connsiteY776" fmla="*/ 712763 h 1590675"/>
              <a:gd name="connsiteX777" fmla="*/ 500063 w 1933575"/>
              <a:gd name="connsiteY777" fmla="*/ 748196 h 1590675"/>
              <a:gd name="connsiteX778" fmla="*/ 544449 w 1933575"/>
              <a:gd name="connsiteY778" fmla="*/ 726574 h 1590675"/>
              <a:gd name="connsiteX779" fmla="*/ 580168 w 1933575"/>
              <a:gd name="connsiteY779" fmla="*/ 692379 h 1590675"/>
              <a:gd name="connsiteX780" fmla="*/ 613982 w 1933575"/>
              <a:gd name="connsiteY780" fmla="*/ 728479 h 1590675"/>
              <a:gd name="connsiteX781" fmla="*/ 578930 w 1933575"/>
              <a:gd name="connsiteY781" fmla="*/ 762007 h 1590675"/>
              <a:gd name="connsiteX782" fmla="*/ 544449 w 1933575"/>
              <a:gd name="connsiteY782" fmla="*/ 726574 h 1590675"/>
              <a:gd name="connsiteX783" fmla="*/ 838581 w 1933575"/>
              <a:gd name="connsiteY783" fmla="*/ 846018 h 1590675"/>
              <a:gd name="connsiteX784" fmla="*/ 803910 w 1933575"/>
              <a:gd name="connsiteY784" fmla="*/ 881355 h 1590675"/>
              <a:gd name="connsiteX785" fmla="*/ 768953 w 1933575"/>
              <a:gd name="connsiteY785" fmla="*/ 846303 h 1590675"/>
              <a:gd name="connsiteX786" fmla="*/ 802862 w 1933575"/>
              <a:gd name="connsiteY786" fmla="*/ 811728 h 1590675"/>
              <a:gd name="connsiteX787" fmla="*/ 838581 w 1933575"/>
              <a:gd name="connsiteY787" fmla="*/ 846018 h 1590675"/>
              <a:gd name="connsiteX788" fmla="*/ 1155859 w 1933575"/>
              <a:gd name="connsiteY788" fmla="*/ 1119195 h 1590675"/>
              <a:gd name="connsiteX789" fmla="*/ 1190530 w 1933575"/>
              <a:gd name="connsiteY789" fmla="*/ 1152818 h 1590675"/>
              <a:gd name="connsiteX790" fmla="*/ 1155859 w 1933575"/>
              <a:gd name="connsiteY790" fmla="*/ 1187775 h 1590675"/>
              <a:gd name="connsiteX791" fmla="*/ 1121950 w 1933575"/>
              <a:gd name="connsiteY791" fmla="*/ 1153389 h 1590675"/>
              <a:gd name="connsiteX792" fmla="*/ 1155859 w 1933575"/>
              <a:gd name="connsiteY792" fmla="*/ 1119195 h 1590675"/>
              <a:gd name="connsiteX793" fmla="*/ 1125188 w 1933575"/>
              <a:gd name="connsiteY793" fmla="*/ 1062521 h 1590675"/>
              <a:gd name="connsiteX794" fmla="*/ 1091184 w 1933575"/>
              <a:gd name="connsiteY794" fmla="*/ 1096811 h 1590675"/>
              <a:gd name="connsiteX795" fmla="*/ 1056513 w 1933575"/>
              <a:gd name="connsiteY795" fmla="*/ 1061759 h 1590675"/>
              <a:gd name="connsiteX796" fmla="*/ 1091184 w 1933575"/>
              <a:gd name="connsiteY796" fmla="*/ 1028231 h 1590675"/>
              <a:gd name="connsiteX797" fmla="*/ 1125188 w 1933575"/>
              <a:gd name="connsiteY797" fmla="*/ 1062521 h 1590675"/>
              <a:gd name="connsiteX798" fmla="*/ 882968 w 1933575"/>
              <a:gd name="connsiteY798" fmla="*/ 894976 h 1590675"/>
              <a:gd name="connsiteX799" fmla="*/ 849154 w 1933575"/>
              <a:gd name="connsiteY799" fmla="*/ 860686 h 1590675"/>
              <a:gd name="connsiteX800" fmla="*/ 884492 w 1933575"/>
              <a:gd name="connsiteY800" fmla="*/ 826491 h 1590675"/>
              <a:gd name="connsiteX801" fmla="*/ 917639 w 1933575"/>
              <a:gd name="connsiteY801" fmla="*/ 861448 h 1590675"/>
              <a:gd name="connsiteX802" fmla="*/ 882968 w 1933575"/>
              <a:gd name="connsiteY802" fmla="*/ 894976 h 1590675"/>
              <a:gd name="connsiteX803" fmla="*/ 1372362 w 1933575"/>
              <a:gd name="connsiteY803" fmla="*/ 1514196 h 1590675"/>
              <a:gd name="connsiteX804" fmla="*/ 1338644 w 1933575"/>
              <a:gd name="connsiteY804" fmla="*/ 1548581 h 1590675"/>
              <a:gd name="connsiteX805" fmla="*/ 1303877 w 1933575"/>
              <a:gd name="connsiteY805" fmla="*/ 1513815 h 1590675"/>
              <a:gd name="connsiteX806" fmla="*/ 1338263 w 1933575"/>
              <a:gd name="connsiteY806" fmla="*/ 1480097 h 1590675"/>
              <a:gd name="connsiteX807" fmla="*/ 1372362 w 1933575"/>
              <a:gd name="connsiteY807" fmla="*/ 1514196 h 1590675"/>
              <a:gd name="connsiteX808" fmla="*/ 59722 w 1933575"/>
              <a:gd name="connsiteY808" fmla="*/ 627133 h 1590675"/>
              <a:gd name="connsiteX809" fmla="*/ 25146 w 1933575"/>
              <a:gd name="connsiteY809" fmla="*/ 662280 h 1590675"/>
              <a:gd name="connsiteX810" fmla="*/ 95 w 1933575"/>
              <a:gd name="connsiteY810" fmla="*/ 652184 h 1590675"/>
              <a:gd name="connsiteX811" fmla="*/ 95 w 1933575"/>
              <a:gd name="connsiteY811" fmla="*/ 603035 h 1590675"/>
              <a:gd name="connsiteX812" fmla="*/ 24194 w 1933575"/>
              <a:gd name="connsiteY812" fmla="*/ 592938 h 1590675"/>
              <a:gd name="connsiteX813" fmla="*/ 59722 w 1933575"/>
              <a:gd name="connsiteY813" fmla="*/ 627133 h 1590675"/>
              <a:gd name="connsiteX814" fmla="*/ 658844 w 1933575"/>
              <a:gd name="connsiteY814" fmla="*/ 704095 h 1590675"/>
              <a:gd name="connsiteX815" fmla="*/ 693229 w 1933575"/>
              <a:gd name="connsiteY815" fmla="*/ 739242 h 1590675"/>
              <a:gd name="connsiteX816" fmla="*/ 658749 w 1933575"/>
              <a:gd name="connsiteY816" fmla="*/ 772866 h 1590675"/>
              <a:gd name="connsiteX817" fmla="*/ 624364 w 1933575"/>
              <a:gd name="connsiteY817" fmla="*/ 737718 h 1590675"/>
              <a:gd name="connsiteX818" fmla="*/ 658844 w 1933575"/>
              <a:gd name="connsiteY818" fmla="*/ 704095 h 1590675"/>
              <a:gd name="connsiteX819" fmla="*/ 1221010 w 1933575"/>
              <a:gd name="connsiteY819" fmla="*/ 1213016 h 1590675"/>
              <a:gd name="connsiteX820" fmla="*/ 1255776 w 1933575"/>
              <a:gd name="connsiteY820" fmla="*/ 1246353 h 1590675"/>
              <a:gd name="connsiteX821" fmla="*/ 1221391 w 1933575"/>
              <a:gd name="connsiteY821" fmla="*/ 1281501 h 1590675"/>
              <a:gd name="connsiteX822" fmla="*/ 1187291 w 1933575"/>
              <a:gd name="connsiteY822" fmla="*/ 1247496 h 1590675"/>
              <a:gd name="connsiteX823" fmla="*/ 1221010 w 1933575"/>
              <a:gd name="connsiteY823" fmla="*/ 1213016 h 1590675"/>
              <a:gd name="connsiteX824" fmla="*/ 1287399 w 1933575"/>
              <a:gd name="connsiteY824" fmla="*/ 1375131 h 1590675"/>
              <a:gd name="connsiteX825" fmla="*/ 1252919 w 1933575"/>
              <a:gd name="connsiteY825" fmla="*/ 1341413 h 1590675"/>
              <a:gd name="connsiteX826" fmla="*/ 1286637 w 1933575"/>
              <a:gd name="connsiteY826" fmla="*/ 1306932 h 1590675"/>
              <a:gd name="connsiteX827" fmla="*/ 1321118 w 1933575"/>
              <a:gd name="connsiteY827" fmla="*/ 1340651 h 1590675"/>
              <a:gd name="connsiteX828" fmla="*/ 1287399 w 1933575"/>
              <a:gd name="connsiteY828" fmla="*/ 1375131 h 1590675"/>
              <a:gd name="connsiteX829" fmla="*/ 738473 w 1933575"/>
              <a:gd name="connsiteY829" fmla="*/ 718573 h 1590675"/>
              <a:gd name="connsiteX830" fmla="*/ 772477 w 1933575"/>
              <a:gd name="connsiteY830" fmla="*/ 752768 h 1590675"/>
              <a:gd name="connsiteX831" fmla="*/ 738283 w 1933575"/>
              <a:gd name="connsiteY831" fmla="*/ 786772 h 1590675"/>
              <a:gd name="connsiteX832" fmla="*/ 704279 w 1933575"/>
              <a:gd name="connsiteY832" fmla="*/ 752577 h 1590675"/>
              <a:gd name="connsiteX833" fmla="*/ 738473 w 1933575"/>
              <a:gd name="connsiteY833" fmla="*/ 718573 h 1590675"/>
              <a:gd name="connsiteX834" fmla="*/ 1025747 w 1933575"/>
              <a:gd name="connsiteY834" fmla="*/ 934600 h 1590675"/>
              <a:gd name="connsiteX835" fmla="*/ 1059561 w 1933575"/>
              <a:gd name="connsiteY835" fmla="*/ 968985 h 1590675"/>
              <a:gd name="connsiteX836" fmla="*/ 1025176 w 1933575"/>
              <a:gd name="connsiteY836" fmla="*/ 1002799 h 1590675"/>
              <a:gd name="connsiteX837" fmla="*/ 991362 w 1933575"/>
              <a:gd name="connsiteY837" fmla="*/ 968414 h 1590675"/>
              <a:gd name="connsiteX838" fmla="*/ 1025747 w 1933575"/>
              <a:gd name="connsiteY838" fmla="*/ 934600 h 1590675"/>
              <a:gd name="connsiteX839" fmla="*/ 164402 w 1933575"/>
              <a:gd name="connsiteY839" fmla="*/ 575888 h 1590675"/>
              <a:gd name="connsiteX840" fmla="*/ 199358 w 1933575"/>
              <a:gd name="connsiteY840" fmla="*/ 542551 h 1590675"/>
              <a:gd name="connsiteX841" fmla="*/ 232315 w 1933575"/>
              <a:gd name="connsiteY841" fmla="*/ 577889 h 1590675"/>
              <a:gd name="connsiteX842" fmla="*/ 198120 w 1933575"/>
              <a:gd name="connsiteY842" fmla="*/ 610560 h 1590675"/>
              <a:gd name="connsiteX843" fmla="*/ 164402 w 1933575"/>
              <a:gd name="connsiteY843" fmla="*/ 575888 h 1590675"/>
              <a:gd name="connsiteX844" fmla="*/ 119063 w 1933575"/>
              <a:gd name="connsiteY844" fmla="*/ 596081 h 1590675"/>
              <a:gd name="connsiteX845" fmla="*/ 84963 w 1933575"/>
              <a:gd name="connsiteY845" fmla="*/ 561792 h 1590675"/>
              <a:gd name="connsiteX846" fmla="*/ 118491 w 1933575"/>
              <a:gd name="connsiteY846" fmla="*/ 528454 h 1590675"/>
              <a:gd name="connsiteX847" fmla="*/ 152591 w 1933575"/>
              <a:gd name="connsiteY847" fmla="*/ 562744 h 1590675"/>
              <a:gd name="connsiteX848" fmla="*/ 119063 w 1933575"/>
              <a:gd name="connsiteY848" fmla="*/ 596081 h 1590675"/>
              <a:gd name="connsiteX849" fmla="*/ 513969 w 1933575"/>
              <a:gd name="connsiteY849" fmla="*/ 667138 h 1590675"/>
              <a:gd name="connsiteX850" fmla="*/ 480060 w 1933575"/>
              <a:gd name="connsiteY850" fmla="*/ 632753 h 1590675"/>
              <a:gd name="connsiteX851" fmla="*/ 513779 w 1933575"/>
              <a:gd name="connsiteY851" fmla="*/ 599511 h 1590675"/>
              <a:gd name="connsiteX852" fmla="*/ 547688 w 1933575"/>
              <a:gd name="connsiteY852" fmla="*/ 633896 h 1590675"/>
              <a:gd name="connsiteX853" fmla="*/ 513969 w 1933575"/>
              <a:gd name="connsiteY853" fmla="*/ 667138 h 1590675"/>
              <a:gd name="connsiteX854" fmla="*/ 434816 w 1933575"/>
              <a:gd name="connsiteY854" fmla="*/ 585128 h 1590675"/>
              <a:gd name="connsiteX855" fmla="*/ 468249 w 1933575"/>
              <a:gd name="connsiteY855" fmla="*/ 619989 h 1590675"/>
              <a:gd name="connsiteX856" fmla="*/ 433007 w 1933575"/>
              <a:gd name="connsiteY856" fmla="*/ 653041 h 1590675"/>
              <a:gd name="connsiteX857" fmla="*/ 400240 w 1933575"/>
              <a:gd name="connsiteY857" fmla="*/ 618846 h 1590675"/>
              <a:gd name="connsiteX858" fmla="*/ 434816 w 1933575"/>
              <a:gd name="connsiteY858" fmla="*/ 585128 h 1590675"/>
              <a:gd name="connsiteX859" fmla="*/ 354521 w 1933575"/>
              <a:gd name="connsiteY859" fmla="*/ 570840 h 1590675"/>
              <a:gd name="connsiteX860" fmla="*/ 388715 w 1933575"/>
              <a:gd name="connsiteY860" fmla="*/ 605130 h 1590675"/>
              <a:gd name="connsiteX861" fmla="*/ 354139 w 1933575"/>
              <a:gd name="connsiteY861" fmla="*/ 639039 h 1590675"/>
              <a:gd name="connsiteX862" fmla="*/ 320612 w 1933575"/>
              <a:gd name="connsiteY862" fmla="*/ 605511 h 1590675"/>
              <a:gd name="connsiteX863" fmla="*/ 354521 w 1933575"/>
              <a:gd name="connsiteY863" fmla="*/ 570840 h 1590675"/>
              <a:gd name="connsiteX864" fmla="*/ 312039 w 1933575"/>
              <a:gd name="connsiteY864" fmla="*/ 591129 h 1590675"/>
              <a:gd name="connsiteX865" fmla="*/ 277178 w 1933575"/>
              <a:gd name="connsiteY865" fmla="*/ 624752 h 1590675"/>
              <a:gd name="connsiteX866" fmla="*/ 243935 w 1933575"/>
              <a:gd name="connsiteY866" fmla="*/ 589509 h 1590675"/>
              <a:gd name="connsiteX867" fmla="*/ 278035 w 1933575"/>
              <a:gd name="connsiteY867" fmla="*/ 556553 h 1590675"/>
              <a:gd name="connsiteX868" fmla="*/ 312039 w 1933575"/>
              <a:gd name="connsiteY868" fmla="*/ 591129 h 1590675"/>
              <a:gd name="connsiteX869" fmla="*/ 993839 w 1933575"/>
              <a:gd name="connsiteY869" fmla="*/ 874688 h 1590675"/>
              <a:gd name="connsiteX870" fmla="*/ 960692 w 1933575"/>
              <a:gd name="connsiteY870" fmla="*/ 908692 h 1590675"/>
              <a:gd name="connsiteX871" fmla="*/ 926306 w 1933575"/>
              <a:gd name="connsiteY871" fmla="*/ 874497 h 1590675"/>
              <a:gd name="connsiteX872" fmla="*/ 960120 w 1933575"/>
              <a:gd name="connsiteY872" fmla="*/ 841255 h 1590675"/>
              <a:gd name="connsiteX873" fmla="*/ 993839 w 1933575"/>
              <a:gd name="connsiteY873" fmla="*/ 874688 h 1590675"/>
              <a:gd name="connsiteX874" fmla="*/ 593789 w 1933575"/>
              <a:gd name="connsiteY874" fmla="*/ 613893 h 1590675"/>
              <a:gd name="connsiteX875" fmla="*/ 627126 w 1933575"/>
              <a:gd name="connsiteY875" fmla="*/ 647897 h 1590675"/>
              <a:gd name="connsiteX876" fmla="*/ 593122 w 1933575"/>
              <a:gd name="connsiteY876" fmla="*/ 681235 h 1590675"/>
              <a:gd name="connsiteX877" fmla="*/ 559784 w 1933575"/>
              <a:gd name="connsiteY877" fmla="*/ 647231 h 1590675"/>
              <a:gd name="connsiteX878" fmla="*/ 593789 w 1933575"/>
              <a:gd name="connsiteY878" fmla="*/ 613893 h 1590675"/>
              <a:gd name="connsiteX879" fmla="*/ 1352836 w 1933575"/>
              <a:gd name="connsiteY879" fmla="*/ 1468572 h 1590675"/>
              <a:gd name="connsiteX880" fmla="*/ 1318546 w 1933575"/>
              <a:gd name="connsiteY880" fmla="*/ 1435710 h 1590675"/>
              <a:gd name="connsiteX881" fmla="*/ 1352455 w 1933575"/>
              <a:gd name="connsiteY881" fmla="*/ 1401039 h 1590675"/>
              <a:gd name="connsiteX882" fmla="*/ 1385983 w 1933575"/>
              <a:gd name="connsiteY882" fmla="*/ 1434567 h 1590675"/>
              <a:gd name="connsiteX883" fmla="*/ 1352836 w 1933575"/>
              <a:gd name="connsiteY883" fmla="*/ 1468572 h 1590675"/>
              <a:gd name="connsiteX884" fmla="*/ 1373505 w 1933575"/>
              <a:gd name="connsiteY884" fmla="*/ 1590587 h 1590675"/>
              <a:gd name="connsiteX885" fmla="*/ 1404461 w 1933575"/>
              <a:gd name="connsiteY885" fmla="*/ 1571727 h 1590675"/>
              <a:gd name="connsiteX886" fmla="*/ 1433322 w 1933575"/>
              <a:gd name="connsiteY886" fmla="*/ 1590587 h 1590675"/>
              <a:gd name="connsiteX887" fmla="*/ 1373505 w 1933575"/>
              <a:gd name="connsiteY887" fmla="*/ 1590587 h 1590675"/>
              <a:gd name="connsiteX888" fmla="*/ 818007 w 1933575"/>
              <a:gd name="connsiteY888" fmla="*/ 800679 h 1590675"/>
              <a:gd name="connsiteX889" fmla="*/ 784193 w 1933575"/>
              <a:gd name="connsiteY889" fmla="*/ 767341 h 1590675"/>
              <a:gd name="connsiteX890" fmla="*/ 818579 w 1933575"/>
              <a:gd name="connsiteY890" fmla="*/ 733242 h 1590675"/>
              <a:gd name="connsiteX891" fmla="*/ 851630 w 1933575"/>
              <a:gd name="connsiteY891" fmla="*/ 767246 h 1590675"/>
              <a:gd name="connsiteX892" fmla="*/ 818007 w 1933575"/>
              <a:gd name="connsiteY892" fmla="*/ 800679 h 1590675"/>
              <a:gd name="connsiteX893" fmla="*/ 39624 w 1933575"/>
              <a:gd name="connsiteY893" fmla="*/ 581604 h 1590675"/>
              <a:gd name="connsiteX894" fmla="*/ 5715 w 1933575"/>
              <a:gd name="connsiteY894" fmla="*/ 548456 h 1590675"/>
              <a:gd name="connsiteX895" fmla="*/ 38862 w 1933575"/>
              <a:gd name="connsiteY895" fmla="*/ 514547 h 1590675"/>
              <a:gd name="connsiteX896" fmla="*/ 72771 w 1933575"/>
              <a:gd name="connsiteY896" fmla="*/ 547695 h 1590675"/>
              <a:gd name="connsiteX897" fmla="*/ 39624 w 1933575"/>
              <a:gd name="connsiteY897" fmla="*/ 581604 h 1590675"/>
              <a:gd name="connsiteX898" fmla="*/ 673132 w 1933575"/>
              <a:gd name="connsiteY898" fmla="*/ 628657 h 1590675"/>
              <a:gd name="connsiteX899" fmla="*/ 706088 w 1933575"/>
              <a:gd name="connsiteY899" fmla="*/ 662566 h 1590675"/>
              <a:gd name="connsiteX900" fmla="*/ 672941 w 1933575"/>
              <a:gd name="connsiteY900" fmla="*/ 694856 h 1590675"/>
              <a:gd name="connsiteX901" fmla="*/ 639985 w 1933575"/>
              <a:gd name="connsiteY901" fmla="*/ 660947 h 1590675"/>
              <a:gd name="connsiteX902" fmla="*/ 673132 w 1933575"/>
              <a:gd name="connsiteY902" fmla="*/ 628657 h 1590675"/>
              <a:gd name="connsiteX903" fmla="*/ 1334357 w 1933575"/>
              <a:gd name="connsiteY903" fmla="*/ 1261403 h 1590675"/>
              <a:gd name="connsiteX904" fmla="*/ 1300829 w 1933575"/>
              <a:gd name="connsiteY904" fmla="*/ 1294740 h 1590675"/>
              <a:gd name="connsiteX905" fmla="*/ 1267873 w 1933575"/>
              <a:gd name="connsiteY905" fmla="*/ 1260927 h 1590675"/>
              <a:gd name="connsiteX906" fmla="*/ 1300639 w 1933575"/>
              <a:gd name="connsiteY906" fmla="*/ 1228351 h 1590675"/>
              <a:gd name="connsiteX907" fmla="*/ 1334357 w 1933575"/>
              <a:gd name="connsiteY907" fmla="*/ 1261403 h 1590675"/>
              <a:gd name="connsiteX908" fmla="*/ 1203770 w 1933575"/>
              <a:gd name="connsiteY908" fmla="*/ 1074332 h 1590675"/>
              <a:gd name="connsiteX909" fmla="*/ 1169575 w 1933575"/>
              <a:gd name="connsiteY909" fmla="*/ 1107193 h 1590675"/>
              <a:gd name="connsiteX910" fmla="*/ 1136999 w 1933575"/>
              <a:gd name="connsiteY910" fmla="*/ 1072617 h 1590675"/>
              <a:gd name="connsiteX911" fmla="*/ 1170432 w 1933575"/>
              <a:gd name="connsiteY911" fmla="*/ 1040423 h 1590675"/>
              <a:gd name="connsiteX912" fmla="*/ 1203770 w 1933575"/>
              <a:gd name="connsiteY912" fmla="*/ 1074332 h 1590675"/>
              <a:gd name="connsiteX913" fmla="*/ 1236250 w 1933575"/>
              <a:gd name="connsiteY913" fmla="*/ 1201014 h 1590675"/>
              <a:gd name="connsiteX914" fmla="*/ 1202436 w 1933575"/>
              <a:gd name="connsiteY914" fmla="*/ 1167772 h 1590675"/>
              <a:gd name="connsiteX915" fmla="*/ 1236059 w 1933575"/>
              <a:gd name="connsiteY915" fmla="*/ 1134339 h 1590675"/>
              <a:gd name="connsiteX916" fmla="*/ 1269111 w 1933575"/>
              <a:gd name="connsiteY916" fmla="*/ 1166915 h 1590675"/>
              <a:gd name="connsiteX917" fmla="*/ 1236250 w 1933575"/>
              <a:gd name="connsiteY917" fmla="*/ 1201014 h 1590675"/>
              <a:gd name="connsiteX918" fmla="*/ 1104710 w 1933575"/>
              <a:gd name="connsiteY918" fmla="*/ 1016134 h 1590675"/>
              <a:gd name="connsiteX919" fmla="*/ 1071753 w 1933575"/>
              <a:gd name="connsiteY919" fmla="*/ 982225 h 1590675"/>
              <a:gd name="connsiteX920" fmla="*/ 1106043 w 1933575"/>
              <a:gd name="connsiteY920" fmla="*/ 949650 h 1590675"/>
              <a:gd name="connsiteX921" fmla="*/ 1138238 w 1933575"/>
              <a:gd name="connsiteY921" fmla="*/ 982796 h 1590675"/>
              <a:gd name="connsiteX922" fmla="*/ 1104710 w 1933575"/>
              <a:gd name="connsiteY922" fmla="*/ 1016134 h 1590675"/>
              <a:gd name="connsiteX923" fmla="*/ 1418273 w 1933575"/>
              <a:gd name="connsiteY923" fmla="*/ 1492955 h 1590675"/>
              <a:gd name="connsiteX924" fmla="*/ 1450562 w 1933575"/>
              <a:gd name="connsiteY924" fmla="*/ 1527055 h 1590675"/>
              <a:gd name="connsiteX925" fmla="*/ 1417225 w 1933575"/>
              <a:gd name="connsiteY925" fmla="*/ 1558678 h 1590675"/>
              <a:gd name="connsiteX926" fmla="*/ 1384935 w 1933575"/>
              <a:gd name="connsiteY926" fmla="*/ 1524579 h 1590675"/>
              <a:gd name="connsiteX927" fmla="*/ 1418273 w 1933575"/>
              <a:gd name="connsiteY927" fmla="*/ 1492955 h 1590675"/>
              <a:gd name="connsiteX928" fmla="*/ 894493 w 1933575"/>
              <a:gd name="connsiteY928" fmla="*/ 814013 h 1590675"/>
              <a:gd name="connsiteX929" fmla="*/ 861822 w 1933575"/>
              <a:gd name="connsiteY929" fmla="*/ 780200 h 1590675"/>
              <a:gd name="connsiteX930" fmla="*/ 894874 w 1933575"/>
              <a:gd name="connsiteY930" fmla="*/ 748291 h 1590675"/>
              <a:gd name="connsiteX931" fmla="*/ 927545 w 1933575"/>
              <a:gd name="connsiteY931" fmla="*/ 782105 h 1590675"/>
              <a:gd name="connsiteX932" fmla="*/ 894493 w 1933575"/>
              <a:gd name="connsiteY932" fmla="*/ 814013 h 1590675"/>
              <a:gd name="connsiteX933" fmla="*/ 1398937 w 1933575"/>
              <a:gd name="connsiteY933" fmla="*/ 1355510 h 1590675"/>
              <a:gd name="connsiteX934" fmla="*/ 1366266 w 1933575"/>
              <a:gd name="connsiteY934" fmla="*/ 1387609 h 1590675"/>
              <a:gd name="connsiteX935" fmla="*/ 1334167 w 1933575"/>
              <a:gd name="connsiteY935" fmla="*/ 1354938 h 1590675"/>
              <a:gd name="connsiteX936" fmla="*/ 1366838 w 1933575"/>
              <a:gd name="connsiteY936" fmla="*/ 1322839 h 1590675"/>
              <a:gd name="connsiteX937" fmla="*/ 1398937 w 1933575"/>
              <a:gd name="connsiteY937" fmla="*/ 1355510 h 1590675"/>
              <a:gd name="connsiteX938" fmla="*/ 784860 w 1933575"/>
              <a:gd name="connsiteY938" fmla="*/ 676282 h 1590675"/>
              <a:gd name="connsiteX939" fmla="*/ 752380 w 1933575"/>
              <a:gd name="connsiteY939" fmla="*/ 708191 h 1590675"/>
              <a:gd name="connsiteX940" fmla="*/ 720471 w 1933575"/>
              <a:gd name="connsiteY940" fmla="*/ 675711 h 1590675"/>
              <a:gd name="connsiteX941" fmla="*/ 752951 w 1933575"/>
              <a:gd name="connsiteY941" fmla="*/ 643802 h 1590675"/>
              <a:gd name="connsiteX942" fmla="*/ 784860 w 1933575"/>
              <a:gd name="connsiteY942" fmla="*/ 676282 h 1590675"/>
              <a:gd name="connsiteX943" fmla="*/ 1072039 w 1933575"/>
              <a:gd name="connsiteY943" fmla="*/ 889452 h 1590675"/>
              <a:gd name="connsiteX944" fmla="*/ 1039368 w 1933575"/>
              <a:gd name="connsiteY944" fmla="*/ 921551 h 1590675"/>
              <a:gd name="connsiteX945" fmla="*/ 1007269 w 1933575"/>
              <a:gd name="connsiteY945" fmla="*/ 888880 h 1590675"/>
              <a:gd name="connsiteX946" fmla="*/ 1039940 w 1933575"/>
              <a:gd name="connsiteY946" fmla="*/ 856781 h 1590675"/>
              <a:gd name="connsiteX947" fmla="*/ 1072039 w 1933575"/>
              <a:gd name="connsiteY947" fmla="*/ 889452 h 1590675"/>
              <a:gd name="connsiteX948" fmla="*/ 607409 w 1933575"/>
              <a:gd name="connsiteY948" fmla="*/ 599320 h 1590675"/>
              <a:gd name="connsiteX949" fmla="*/ 576358 w 1933575"/>
              <a:gd name="connsiteY949" fmla="*/ 567697 h 1590675"/>
              <a:gd name="connsiteX950" fmla="*/ 607981 w 1933575"/>
              <a:gd name="connsiteY950" fmla="*/ 536646 h 1590675"/>
              <a:gd name="connsiteX951" fmla="*/ 639032 w 1933575"/>
              <a:gd name="connsiteY951" fmla="*/ 568269 h 1590675"/>
              <a:gd name="connsiteX952" fmla="*/ 607409 w 1933575"/>
              <a:gd name="connsiteY952" fmla="*/ 599320 h 1590675"/>
              <a:gd name="connsiteX953" fmla="*/ 1005935 w 1933575"/>
              <a:gd name="connsiteY953" fmla="*/ 794773 h 1590675"/>
              <a:gd name="connsiteX954" fmla="*/ 975265 w 1933575"/>
              <a:gd name="connsiteY954" fmla="*/ 826968 h 1590675"/>
              <a:gd name="connsiteX955" fmla="*/ 942785 w 1933575"/>
              <a:gd name="connsiteY955" fmla="*/ 795249 h 1590675"/>
              <a:gd name="connsiteX956" fmla="*/ 974122 w 1933575"/>
              <a:gd name="connsiteY956" fmla="*/ 763817 h 1590675"/>
              <a:gd name="connsiteX957" fmla="*/ 1005935 w 1933575"/>
              <a:gd name="connsiteY957" fmla="*/ 794773 h 1590675"/>
              <a:gd name="connsiteX958" fmla="*/ 164497 w 1933575"/>
              <a:gd name="connsiteY958" fmla="*/ 482258 h 1590675"/>
              <a:gd name="connsiteX959" fmla="*/ 133826 w 1933575"/>
              <a:gd name="connsiteY959" fmla="*/ 514262 h 1590675"/>
              <a:gd name="connsiteX960" fmla="*/ 101537 w 1933575"/>
              <a:gd name="connsiteY960" fmla="*/ 482544 h 1590675"/>
              <a:gd name="connsiteX961" fmla="*/ 132874 w 1933575"/>
              <a:gd name="connsiteY961" fmla="*/ 451302 h 1590675"/>
              <a:gd name="connsiteX962" fmla="*/ 164497 w 1933575"/>
              <a:gd name="connsiteY962" fmla="*/ 482258 h 1590675"/>
              <a:gd name="connsiteX963" fmla="*/ 559689 w 1933575"/>
              <a:gd name="connsiteY963" fmla="*/ 553219 h 1590675"/>
              <a:gd name="connsiteX964" fmla="*/ 529019 w 1933575"/>
              <a:gd name="connsiteY964" fmla="*/ 585413 h 1590675"/>
              <a:gd name="connsiteX965" fmla="*/ 496538 w 1933575"/>
              <a:gd name="connsiteY965" fmla="*/ 553695 h 1590675"/>
              <a:gd name="connsiteX966" fmla="*/ 527876 w 1933575"/>
              <a:gd name="connsiteY966" fmla="*/ 522263 h 1590675"/>
              <a:gd name="connsiteX967" fmla="*/ 559689 w 1933575"/>
              <a:gd name="connsiteY967" fmla="*/ 553219 h 1590675"/>
              <a:gd name="connsiteX968" fmla="*/ 863727 w 1933575"/>
              <a:gd name="connsiteY968" fmla="*/ 687712 h 1590675"/>
              <a:gd name="connsiteX969" fmla="*/ 832199 w 1933575"/>
              <a:gd name="connsiteY969" fmla="*/ 718859 h 1590675"/>
              <a:gd name="connsiteX970" fmla="*/ 800767 w 1933575"/>
              <a:gd name="connsiteY970" fmla="*/ 686283 h 1590675"/>
              <a:gd name="connsiteX971" fmla="*/ 833057 w 1933575"/>
              <a:gd name="connsiteY971" fmla="*/ 655898 h 1590675"/>
              <a:gd name="connsiteX972" fmla="*/ 863727 w 1933575"/>
              <a:gd name="connsiteY972" fmla="*/ 687712 h 1590675"/>
              <a:gd name="connsiteX973" fmla="*/ 321183 w 1933575"/>
              <a:gd name="connsiteY973" fmla="*/ 511309 h 1590675"/>
              <a:gd name="connsiteX974" fmla="*/ 288512 w 1933575"/>
              <a:gd name="connsiteY974" fmla="*/ 542932 h 1590675"/>
              <a:gd name="connsiteX975" fmla="*/ 257556 w 1933575"/>
              <a:gd name="connsiteY975" fmla="*/ 510928 h 1590675"/>
              <a:gd name="connsiteX976" fmla="*/ 290227 w 1933575"/>
              <a:gd name="connsiteY976" fmla="*/ 479305 h 1590675"/>
              <a:gd name="connsiteX977" fmla="*/ 321183 w 1933575"/>
              <a:gd name="connsiteY977" fmla="*/ 511309 h 1590675"/>
              <a:gd name="connsiteX978" fmla="*/ 369475 w 1933575"/>
              <a:gd name="connsiteY978" fmla="*/ 493497 h 1590675"/>
              <a:gd name="connsiteX979" fmla="*/ 400717 w 1933575"/>
              <a:gd name="connsiteY979" fmla="*/ 526549 h 1590675"/>
              <a:gd name="connsiteX980" fmla="*/ 368332 w 1933575"/>
              <a:gd name="connsiteY980" fmla="*/ 557029 h 1590675"/>
              <a:gd name="connsiteX981" fmla="*/ 337090 w 1933575"/>
              <a:gd name="connsiteY981" fmla="*/ 523977 h 1590675"/>
              <a:gd name="connsiteX982" fmla="*/ 369475 w 1933575"/>
              <a:gd name="connsiteY982" fmla="*/ 493497 h 1590675"/>
              <a:gd name="connsiteX983" fmla="*/ 1150620 w 1933575"/>
              <a:gd name="connsiteY983" fmla="*/ 903834 h 1590675"/>
              <a:gd name="connsiteX984" fmla="*/ 1118711 w 1933575"/>
              <a:gd name="connsiteY984" fmla="*/ 934695 h 1590675"/>
              <a:gd name="connsiteX985" fmla="*/ 1087850 w 1933575"/>
              <a:gd name="connsiteY985" fmla="*/ 902787 h 1590675"/>
              <a:gd name="connsiteX986" fmla="*/ 1119759 w 1933575"/>
              <a:gd name="connsiteY986" fmla="*/ 871926 h 1590675"/>
              <a:gd name="connsiteX987" fmla="*/ 1150620 w 1933575"/>
              <a:gd name="connsiteY987" fmla="*/ 903834 h 1590675"/>
              <a:gd name="connsiteX988" fmla="*/ 1250442 w 1933575"/>
              <a:gd name="connsiteY988" fmla="*/ 1056520 h 1590675"/>
              <a:gd name="connsiteX989" fmla="*/ 1281589 w 1933575"/>
              <a:gd name="connsiteY989" fmla="*/ 1088143 h 1590675"/>
              <a:gd name="connsiteX990" fmla="*/ 1248918 w 1933575"/>
              <a:gd name="connsiteY990" fmla="*/ 1119671 h 1590675"/>
              <a:gd name="connsiteX991" fmla="*/ 1218438 w 1933575"/>
              <a:gd name="connsiteY991" fmla="*/ 1087286 h 1590675"/>
              <a:gd name="connsiteX992" fmla="*/ 1250442 w 1933575"/>
              <a:gd name="connsiteY992" fmla="*/ 1056520 h 1590675"/>
              <a:gd name="connsiteX993" fmla="*/ 1184148 w 1933575"/>
              <a:gd name="connsiteY993" fmla="*/ 1028707 h 1590675"/>
              <a:gd name="connsiteX994" fmla="*/ 1153001 w 1933575"/>
              <a:gd name="connsiteY994" fmla="*/ 996989 h 1590675"/>
              <a:gd name="connsiteX995" fmla="*/ 1185767 w 1933575"/>
              <a:gd name="connsiteY995" fmla="*/ 965461 h 1590675"/>
              <a:gd name="connsiteX996" fmla="*/ 1216247 w 1933575"/>
              <a:gd name="connsiteY996" fmla="*/ 997846 h 1590675"/>
              <a:gd name="connsiteX997" fmla="*/ 1184148 w 1933575"/>
              <a:gd name="connsiteY997" fmla="*/ 1028707 h 1590675"/>
              <a:gd name="connsiteX998" fmla="*/ 213170 w 1933575"/>
              <a:gd name="connsiteY998" fmla="*/ 465208 h 1590675"/>
              <a:gd name="connsiteX999" fmla="*/ 244316 w 1933575"/>
              <a:gd name="connsiteY999" fmla="*/ 498164 h 1590675"/>
              <a:gd name="connsiteX1000" fmla="*/ 212122 w 1933575"/>
              <a:gd name="connsiteY1000" fmla="*/ 528645 h 1590675"/>
              <a:gd name="connsiteX1001" fmla="*/ 180975 w 1933575"/>
              <a:gd name="connsiteY1001" fmla="*/ 495688 h 1590675"/>
              <a:gd name="connsiteX1002" fmla="*/ 213170 w 1933575"/>
              <a:gd name="connsiteY1002" fmla="*/ 465208 h 1590675"/>
              <a:gd name="connsiteX1003" fmla="*/ 1463612 w 1933575"/>
              <a:gd name="connsiteY1003" fmla="*/ 1448569 h 1590675"/>
              <a:gd name="connsiteX1004" fmla="*/ 1431703 w 1933575"/>
              <a:gd name="connsiteY1004" fmla="*/ 1480668 h 1590675"/>
              <a:gd name="connsiteX1005" fmla="*/ 1400270 w 1933575"/>
              <a:gd name="connsiteY1005" fmla="*/ 1449426 h 1590675"/>
              <a:gd name="connsiteX1006" fmla="*/ 1432179 w 1933575"/>
              <a:gd name="connsiteY1006" fmla="*/ 1417327 h 1590675"/>
              <a:gd name="connsiteX1007" fmla="*/ 1463612 w 1933575"/>
              <a:gd name="connsiteY1007" fmla="*/ 1448569 h 1590675"/>
              <a:gd name="connsiteX1008" fmla="*/ 1380363 w 1933575"/>
              <a:gd name="connsiteY1008" fmla="*/ 1244353 h 1590675"/>
              <a:gd name="connsiteX1009" fmla="*/ 1412081 w 1933575"/>
              <a:gd name="connsiteY1009" fmla="*/ 1275309 h 1590675"/>
              <a:gd name="connsiteX1010" fmla="*/ 1381125 w 1933575"/>
              <a:gd name="connsiteY1010" fmla="*/ 1307028 h 1590675"/>
              <a:gd name="connsiteX1011" fmla="*/ 1349407 w 1933575"/>
              <a:gd name="connsiteY1011" fmla="*/ 1276071 h 1590675"/>
              <a:gd name="connsiteX1012" fmla="*/ 1380363 w 1933575"/>
              <a:gd name="connsiteY1012" fmla="*/ 1244353 h 1590675"/>
              <a:gd name="connsiteX1013" fmla="*/ 1346930 w 1933575"/>
              <a:gd name="connsiteY1013" fmla="*/ 1181964 h 1590675"/>
              <a:gd name="connsiteX1014" fmla="*/ 1315593 w 1933575"/>
              <a:gd name="connsiteY1014" fmla="*/ 1213492 h 1590675"/>
              <a:gd name="connsiteX1015" fmla="*/ 1283780 w 1933575"/>
              <a:gd name="connsiteY1015" fmla="*/ 1181107 h 1590675"/>
              <a:gd name="connsiteX1016" fmla="*/ 1315784 w 1933575"/>
              <a:gd name="connsiteY1016" fmla="*/ 1150341 h 1590675"/>
              <a:gd name="connsiteX1017" fmla="*/ 1346930 w 1933575"/>
              <a:gd name="connsiteY1017" fmla="*/ 1181964 h 1590675"/>
              <a:gd name="connsiteX1018" fmla="*/ 447294 w 1933575"/>
              <a:gd name="connsiteY1018" fmla="*/ 571317 h 1590675"/>
              <a:gd name="connsiteX1019" fmla="*/ 416719 w 1933575"/>
              <a:gd name="connsiteY1019" fmla="*/ 537598 h 1590675"/>
              <a:gd name="connsiteX1020" fmla="*/ 449675 w 1933575"/>
              <a:gd name="connsiteY1020" fmla="*/ 507689 h 1590675"/>
              <a:gd name="connsiteX1021" fmla="*/ 480251 w 1933575"/>
              <a:gd name="connsiteY1021" fmla="*/ 541408 h 1590675"/>
              <a:gd name="connsiteX1022" fmla="*/ 447294 w 1933575"/>
              <a:gd name="connsiteY1022" fmla="*/ 571317 h 1590675"/>
              <a:gd name="connsiteX1023" fmla="*/ 84677 w 1933575"/>
              <a:gd name="connsiteY1023" fmla="*/ 468542 h 1590675"/>
              <a:gd name="connsiteX1024" fmla="*/ 53054 w 1933575"/>
              <a:gd name="connsiteY1024" fmla="*/ 499784 h 1590675"/>
              <a:gd name="connsiteX1025" fmla="*/ 22193 w 1933575"/>
              <a:gd name="connsiteY1025" fmla="*/ 467780 h 1590675"/>
              <a:gd name="connsiteX1026" fmla="*/ 53150 w 1933575"/>
              <a:gd name="connsiteY1026" fmla="*/ 437204 h 1590675"/>
              <a:gd name="connsiteX1027" fmla="*/ 84677 w 1933575"/>
              <a:gd name="connsiteY1027" fmla="*/ 468542 h 1590675"/>
              <a:gd name="connsiteX1028" fmla="*/ 718376 w 1933575"/>
              <a:gd name="connsiteY1028" fmla="*/ 582556 h 1590675"/>
              <a:gd name="connsiteX1029" fmla="*/ 686086 w 1933575"/>
              <a:gd name="connsiteY1029" fmla="*/ 613227 h 1590675"/>
              <a:gd name="connsiteX1030" fmla="*/ 656082 w 1933575"/>
              <a:gd name="connsiteY1030" fmla="*/ 581699 h 1590675"/>
              <a:gd name="connsiteX1031" fmla="*/ 688372 w 1933575"/>
              <a:gd name="connsiteY1031" fmla="*/ 551028 h 1590675"/>
              <a:gd name="connsiteX1032" fmla="*/ 718376 w 1933575"/>
              <a:gd name="connsiteY1032" fmla="*/ 582556 h 1590675"/>
              <a:gd name="connsiteX1033" fmla="*/ 1446181 w 1933575"/>
              <a:gd name="connsiteY1033" fmla="*/ 1338555 h 1590675"/>
              <a:gd name="connsiteX1034" fmla="*/ 1477137 w 1933575"/>
              <a:gd name="connsiteY1034" fmla="*/ 1369226 h 1590675"/>
              <a:gd name="connsiteX1035" fmla="*/ 1445419 w 1933575"/>
              <a:gd name="connsiteY1035" fmla="*/ 1400468 h 1590675"/>
              <a:gd name="connsiteX1036" fmla="*/ 1415225 w 1933575"/>
              <a:gd name="connsiteY1036" fmla="*/ 1369130 h 1590675"/>
              <a:gd name="connsiteX1037" fmla="*/ 1446181 w 1933575"/>
              <a:gd name="connsiteY1037" fmla="*/ 1338555 h 1590675"/>
              <a:gd name="connsiteX1038" fmla="*/ 4858 w 1933575"/>
              <a:gd name="connsiteY1038" fmla="*/ 458636 h 1590675"/>
              <a:gd name="connsiteX1039" fmla="*/ 95 w 1933575"/>
              <a:gd name="connsiteY1039" fmla="*/ 473209 h 1590675"/>
              <a:gd name="connsiteX1040" fmla="*/ 95 w 1933575"/>
              <a:gd name="connsiteY1040" fmla="*/ 440919 h 1590675"/>
              <a:gd name="connsiteX1041" fmla="*/ 4858 w 1933575"/>
              <a:gd name="connsiteY1041" fmla="*/ 458636 h 1590675"/>
              <a:gd name="connsiteX1042" fmla="*/ 1084802 w 1933575"/>
              <a:gd name="connsiteY1042" fmla="*/ 809251 h 1590675"/>
              <a:gd name="connsiteX1043" fmla="*/ 1054513 w 1933575"/>
              <a:gd name="connsiteY1043" fmla="*/ 840493 h 1590675"/>
              <a:gd name="connsiteX1044" fmla="*/ 1022985 w 1933575"/>
              <a:gd name="connsiteY1044" fmla="*/ 809061 h 1590675"/>
              <a:gd name="connsiteX1045" fmla="*/ 1054037 w 1933575"/>
              <a:gd name="connsiteY1045" fmla="*/ 778580 h 1590675"/>
              <a:gd name="connsiteX1046" fmla="*/ 1084802 w 1933575"/>
              <a:gd name="connsiteY1046" fmla="*/ 809251 h 1590675"/>
              <a:gd name="connsiteX1047" fmla="*/ 1497140 w 1933575"/>
              <a:gd name="connsiteY1047" fmla="*/ 1571061 h 1590675"/>
              <a:gd name="connsiteX1048" fmla="*/ 1466278 w 1933575"/>
              <a:gd name="connsiteY1048" fmla="*/ 1540200 h 1590675"/>
              <a:gd name="connsiteX1049" fmla="*/ 1498187 w 1933575"/>
              <a:gd name="connsiteY1049" fmla="*/ 1508958 h 1590675"/>
              <a:gd name="connsiteX1050" fmla="*/ 1528382 w 1933575"/>
              <a:gd name="connsiteY1050" fmla="*/ 1540485 h 1590675"/>
              <a:gd name="connsiteX1051" fmla="*/ 1497140 w 1933575"/>
              <a:gd name="connsiteY1051" fmla="*/ 1571061 h 1590675"/>
              <a:gd name="connsiteX1052" fmla="*/ 909638 w 1933575"/>
              <a:gd name="connsiteY1052" fmla="*/ 732575 h 1590675"/>
              <a:gd name="connsiteX1053" fmla="*/ 877919 w 1933575"/>
              <a:gd name="connsiteY1053" fmla="*/ 702571 h 1590675"/>
              <a:gd name="connsiteX1054" fmla="*/ 908971 w 1933575"/>
              <a:gd name="connsiteY1054" fmla="*/ 670472 h 1590675"/>
              <a:gd name="connsiteX1055" fmla="*/ 940022 w 1933575"/>
              <a:gd name="connsiteY1055" fmla="*/ 701238 h 1590675"/>
              <a:gd name="connsiteX1056" fmla="*/ 909638 w 1933575"/>
              <a:gd name="connsiteY1056" fmla="*/ 732575 h 1590675"/>
              <a:gd name="connsiteX1057" fmla="*/ 766858 w 1933575"/>
              <a:gd name="connsiteY1057" fmla="*/ 565792 h 1590675"/>
              <a:gd name="connsiteX1058" fmla="*/ 797433 w 1933575"/>
              <a:gd name="connsiteY1058" fmla="*/ 596748 h 1590675"/>
              <a:gd name="connsiteX1059" fmla="*/ 766096 w 1933575"/>
              <a:gd name="connsiteY1059" fmla="*/ 627038 h 1590675"/>
              <a:gd name="connsiteX1060" fmla="*/ 736187 w 1933575"/>
              <a:gd name="connsiteY1060" fmla="*/ 596844 h 1590675"/>
              <a:gd name="connsiteX1061" fmla="*/ 766858 w 1933575"/>
              <a:gd name="connsiteY1061" fmla="*/ 565792 h 1590675"/>
              <a:gd name="connsiteX1062" fmla="*/ 1233583 w 1933575"/>
              <a:gd name="connsiteY1062" fmla="*/ 1010705 h 1590675"/>
              <a:gd name="connsiteX1063" fmla="*/ 1265206 w 1933575"/>
              <a:gd name="connsiteY1063" fmla="*/ 980796 h 1590675"/>
              <a:gd name="connsiteX1064" fmla="*/ 1294733 w 1933575"/>
              <a:gd name="connsiteY1064" fmla="*/ 1012800 h 1590675"/>
              <a:gd name="connsiteX1065" fmla="*/ 1263872 w 1933575"/>
              <a:gd name="connsiteY1065" fmla="*/ 1042042 h 1590675"/>
              <a:gd name="connsiteX1066" fmla="*/ 1233583 w 1933575"/>
              <a:gd name="connsiteY1066" fmla="*/ 1010705 h 1590675"/>
              <a:gd name="connsiteX1067" fmla="*/ 1360170 w 1933575"/>
              <a:gd name="connsiteY1067" fmla="*/ 1101573 h 1590675"/>
              <a:gd name="connsiteX1068" fmla="*/ 1329881 w 1933575"/>
              <a:gd name="connsiteY1068" fmla="*/ 1132911 h 1590675"/>
              <a:gd name="connsiteX1069" fmla="*/ 1298924 w 1933575"/>
              <a:gd name="connsiteY1069" fmla="*/ 1102335 h 1590675"/>
              <a:gd name="connsiteX1070" fmla="*/ 1328452 w 1933575"/>
              <a:gd name="connsiteY1070" fmla="*/ 1071760 h 1590675"/>
              <a:gd name="connsiteX1071" fmla="*/ 1360170 w 1933575"/>
              <a:gd name="connsiteY1071" fmla="*/ 1101573 h 1590675"/>
              <a:gd name="connsiteX1072" fmla="*/ 1425226 w 1933575"/>
              <a:gd name="connsiteY1072" fmla="*/ 1195680 h 1590675"/>
              <a:gd name="connsiteX1073" fmla="*/ 1394651 w 1933575"/>
              <a:gd name="connsiteY1073" fmla="*/ 1226255 h 1590675"/>
              <a:gd name="connsiteX1074" fmla="*/ 1364742 w 1933575"/>
              <a:gd name="connsiteY1074" fmla="*/ 1196347 h 1590675"/>
              <a:gd name="connsiteX1075" fmla="*/ 1395317 w 1933575"/>
              <a:gd name="connsiteY1075" fmla="*/ 1165772 h 1590675"/>
              <a:gd name="connsiteX1076" fmla="*/ 1425226 w 1933575"/>
              <a:gd name="connsiteY1076" fmla="*/ 1195680 h 1590675"/>
              <a:gd name="connsiteX1077" fmla="*/ 1199388 w 1933575"/>
              <a:gd name="connsiteY1077" fmla="*/ 947840 h 1590675"/>
              <a:gd name="connsiteX1078" fmla="*/ 1168622 w 1933575"/>
              <a:gd name="connsiteY1078" fmla="*/ 917455 h 1590675"/>
              <a:gd name="connsiteX1079" fmla="*/ 1198340 w 1933575"/>
              <a:gd name="connsiteY1079" fmla="*/ 887356 h 1590675"/>
              <a:gd name="connsiteX1080" fmla="*/ 1229106 w 1933575"/>
              <a:gd name="connsiteY1080" fmla="*/ 917741 h 1590675"/>
              <a:gd name="connsiteX1081" fmla="*/ 1199388 w 1933575"/>
              <a:gd name="connsiteY1081" fmla="*/ 947840 h 1590675"/>
              <a:gd name="connsiteX1082" fmla="*/ 303943 w 1933575"/>
              <a:gd name="connsiteY1082" fmla="*/ 461588 h 1590675"/>
              <a:gd name="connsiteX1083" fmla="*/ 273463 w 1933575"/>
              <a:gd name="connsiteY1083" fmla="*/ 432347 h 1590675"/>
              <a:gd name="connsiteX1084" fmla="*/ 303752 w 1933575"/>
              <a:gd name="connsiteY1084" fmla="*/ 401581 h 1590675"/>
              <a:gd name="connsiteX1085" fmla="*/ 333470 w 1933575"/>
              <a:gd name="connsiteY1085" fmla="*/ 431585 h 1590675"/>
              <a:gd name="connsiteX1086" fmla="*/ 303943 w 1933575"/>
              <a:gd name="connsiteY1086" fmla="*/ 461588 h 1590675"/>
              <a:gd name="connsiteX1087" fmla="*/ 353092 w 1933575"/>
              <a:gd name="connsiteY1087" fmla="*/ 445777 h 1590675"/>
              <a:gd name="connsiteX1088" fmla="*/ 382810 w 1933575"/>
              <a:gd name="connsiteY1088" fmla="*/ 415773 h 1590675"/>
              <a:gd name="connsiteX1089" fmla="*/ 413195 w 1933575"/>
              <a:gd name="connsiteY1089" fmla="*/ 446539 h 1590675"/>
              <a:gd name="connsiteX1090" fmla="*/ 382810 w 1933575"/>
              <a:gd name="connsiteY1090" fmla="*/ 475876 h 1590675"/>
              <a:gd name="connsiteX1091" fmla="*/ 353092 w 1933575"/>
              <a:gd name="connsiteY1091" fmla="*/ 445777 h 1590675"/>
              <a:gd name="connsiteX1092" fmla="*/ 492538 w 1933575"/>
              <a:gd name="connsiteY1092" fmla="*/ 460350 h 1590675"/>
              <a:gd name="connsiteX1093" fmla="*/ 462344 w 1933575"/>
              <a:gd name="connsiteY1093" fmla="*/ 489783 h 1590675"/>
              <a:gd name="connsiteX1094" fmla="*/ 432911 w 1933575"/>
              <a:gd name="connsiteY1094" fmla="*/ 459588 h 1590675"/>
              <a:gd name="connsiteX1095" fmla="*/ 463106 w 1933575"/>
              <a:gd name="connsiteY1095" fmla="*/ 430156 h 1590675"/>
              <a:gd name="connsiteX1096" fmla="*/ 492538 w 1933575"/>
              <a:gd name="connsiteY1096" fmla="*/ 460350 h 1590675"/>
              <a:gd name="connsiteX1097" fmla="*/ 1018508 w 1933575"/>
              <a:gd name="connsiteY1097" fmla="*/ 716287 h 1590675"/>
              <a:gd name="connsiteX1098" fmla="*/ 988314 w 1933575"/>
              <a:gd name="connsiteY1098" fmla="*/ 745814 h 1590675"/>
              <a:gd name="connsiteX1099" fmla="*/ 958406 w 1933575"/>
              <a:gd name="connsiteY1099" fmla="*/ 714572 h 1590675"/>
              <a:gd name="connsiteX1100" fmla="*/ 989267 w 1933575"/>
              <a:gd name="connsiteY1100" fmla="*/ 685712 h 1590675"/>
              <a:gd name="connsiteX1101" fmla="*/ 1018508 w 1933575"/>
              <a:gd name="connsiteY1101" fmla="*/ 716287 h 1590675"/>
              <a:gd name="connsiteX1102" fmla="*/ 1541526 w 1933575"/>
              <a:gd name="connsiteY1102" fmla="*/ 1460666 h 1590675"/>
              <a:gd name="connsiteX1103" fmla="*/ 1511618 w 1933575"/>
              <a:gd name="connsiteY1103" fmla="*/ 1490479 h 1590675"/>
              <a:gd name="connsiteX1104" fmla="*/ 1481423 w 1933575"/>
              <a:gd name="connsiteY1104" fmla="*/ 1459523 h 1590675"/>
              <a:gd name="connsiteX1105" fmla="*/ 1511999 w 1933575"/>
              <a:gd name="connsiteY1105" fmla="*/ 1430376 h 1590675"/>
              <a:gd name="connsiteX1106" fmla="*/ 1541526 w 1933575"/>
              <a:gd name="connsiteY1106" fmla="*/ 1460666 h 1590675"/>
              <a:gd name="connsiteX1107" fmla="*/ 1554385 w 1933575"/>
              <a:gd name="connsiteY1107" fmla="*/ 1384180 h 1590675"/>
              <a:gd name="connsiteX1108" fmla="*/ 1525238 w 1933575"/>
              <a:gd name="connsiteY1108" fmla="*/ 1412374 h 1590675"/>
              <a:gd name="connsiteX1109" fmla="*/ 1497044 w 1933575"/>
              <a:gd name="connsiteY1109" fmla="*/ 1383228 h 1590675"/>
              <a:gd name="connsiteX1110" fmla="*/ 1526191 w 1933575"/>
              <a:gd name="connsiteY1110" fmla="*/ 1355034 h 1590675"/>
              <a:gd name="connsiteX1111" fmla="*/ 1554385 w 1933575"/>
              <a:gd name="connsiteY1111" fmla="*/ 1384180 h 1590675"/>
              <a:gd name="connsiteX1112" fmla="*/ 650939 w 1933575"/>
              <a:gd name="connsiteY1112" fmla="*/ 487878 h 1590675"/>
              <a:gd name="connsiteX1113" fmla="*/ 621697 w 1933575"/>
              <a:gd name="connsiteY1113" fmla="*/ 517405 h 1590675"/>
              <a:gd name="connsiteX1114" fmla="*/ 592836 w 1933575"/>
              <a:gd name="connsiteY1114" fmla="*/ 488925 h 1590675"/>
              <a:gd name="connsiteX1115" fmla="*/ 622078 w 1933575"/>
              <a:gd name="connsiteY1115" fmla="*/ 459398 h 1590675"/>
              <a:gd name="connsiteX1116" fmla="*/ 650939 w 1933575"/>
              <a:gd name="connsiteY1116" fmla="*/ 487878 h 1590675"/>
              <a:gd name="connsiteX1117" fmla="*/ 541973 w 1933575"/>
              <a:gd name="connsiteY1117" fmla="*/ 444825 h 1590675"/>
              <a:gd name="connsiteX1118" fmla="*/ 571691 w 1933575"/>
              <a:gd name="connsiteY1118" fmla="*/ 474162 h 1590675"/>
              <a:gd name="connsiteX1119" fmla="*/ 541973 w 1933575"/>
              <a:gd name="connsiteY1119" fmla="*/ 503498 h 1590675"/>
              <a:gd name="connsiteX1120" fmla="*/ 513017 w 1933575"/>
              <a:gd name="connsiteY1120" fmla="*/ 474828 h 1590675"/>
              <a:gd name="connsiteX1121" fmla="*/ 541973 w 1933575"/>
              <a:gd name="connsiteY1121" fmla="*/ 444825 h 1590675"/>
              <a:gd name="connsiteX1122" fmla="*/ 96584 w 1933575"/>
              <a:gd name="connsiteY1122" fmla="*/ 391770 h 1590675"/>
              <a:gd name="connsiteX1123" fmla="*/ 68009 w 1933575"/>
              <a:gd name="connsiteY1123" fmla="*/ 420631 h 1590675"/>
              <a:gd name="connsiteX1124" fmla="*/ 38767 w 1933575"/>
              <a:gd name="connsiteY1124" fmla="*/ 390913 h 1590675"/>
              <a:gd name="connsiteX1125" fmla="*/ 68104 w 1933575"/>
              <a:gd name="connsiteY1125" fmla="*/ 362814 h 1590675"/>
              <a:gd name="connsiteX1126" fmla="*/ 96584 w 1933575"/>
              <a:gd name="connsiteY1126" fmla="*/ 391770 h 1590675"/>
              <a:gd name="connsiteX1127" fmla="*/ 1162812 w 1933575"/>
              <a:gd name="connsiteY1127" fmla="*/ 823729 h 1590675"/>
              <a:gd name="connsiteX1128" fmla="*/ 1133189 w 1933575"/>
              <a:gd name="connsiteY1128" fmla="*/ 853161 h 1590675"/>
              <a:gd name="connsiteX1129" fmla="*/ 1104138 w 1933575"/>
              <a:gd name="connsiteY1129" fmla="*/ 823158 h 1590675"/>
              <a:gd name="connsiteX1130" fmla="*/ 1133094 w 1933575"/>
              <a:gd name="connsiteY1130" fmla="*/ 794487 h 1590675"/>
              <a:gd name="connsiteX1131" fmla="*/ 1162812 w 1933575"/>
              <a:gd name="connsiteY1131" fmla="*/ 823729 h 1590675"/>
              <a:gd name="connsiteX1132" fmla="*/ 146780 w 1933575"/>
              <a:gd name="connsiteY1132" fmla="*/ 373959 h 1590675"/>
              <a:gd name="connsiteX1133" fmla="*/ 176403 w 1933575"/>
              <a:gd name="connsiteY1133" fmla="*/ 403391 h 1590675"/>
              <a:gd name="connsiteX1134" fmla="*/ 147638 w 1933575"/>
              <a:gd name="connsiteY1134" fmla="*/ 432347 h 1590675"/>
              <a:gd name="connsiteX1135" fmla="*/ 118015 w 1933575"/>
              <a:gd name="connsiteY1135" fmla="*/ 402914 h 1590675"/>
              <a:gd name="connsiteX1136" fmla="*/ 146780 w 1933575"/>
              <a:gd name="connsiteY1136" fmla="*/ 373959 h 1590675"/>
              <a:gd name="connsiteX1137" fmla="*/ 1605439 w 1933575"/>
              <a:gd name="connsiteY1137" fmla="*/ 1555344 h 1590675"/>
              <a:gd name="connsiteX1138" fmla="*/ 1575721 w 1933575"/>
              <a:gd name="connsiteY1138" fmla="*/ 1582872 h 1590675"/>
              <a:gd name="connsiteX1139" fmla="*/ 1548194 w 1933575"/>
              <a:gd name="connsiteY1139" fmla="*/ 1553154 h 1590675"/>
              <a:gd name="connsiteX1140" fmla="*/ 1577912 w 1933575"/>
              <a:gd name="connsiteY1140" fmla="*/ 1525626 h 1590675"/>
              <a:gd name="connsiteX1141" fmla="*/ 1605439 w 1933575"/>
              <a:gd name="connsiteY1141" fmla="*/ 1555344 h 1590675"/>
              <a:gd name="connsiteX1142" fmla="*/ 873157 w 1933575"/>
              <a:gd name="connsiteY1142" fmla="*/ 610369 h 1590675"/>
              <a:gd name="connsiteX1143" fmla="*/ 843820 w 1933575"/>
              <a:gd name="connsiteY1143" fmla="*/ 640182 h 1590675"/>
              <a:gd name="connsiteX1144" fmla="*/ 814007 w 1933575"/>
              <a:gd name="connsiteY1144" fmla="*/ 610845 h 1590675"/>
              <a:gd name="connsiteX1145" fmla="*/ 843344 w 1933575"/>
              <a:gd name="connsiteY1145" fmla="*/ 581032 h 1590675"/>
              <a:gd name="connsiteX1146" fmla="*/ 873157 w 1933575"/>
              <a:gd name="connsiteY1146" fmla="*/ 610369 h 1590675"/>
              <a:gd name="connsiteX1147" fmla="*/ 1096709 w 1933575"/>
              <a:gd name="connsiteY1147" fmla="*/ 729813 h 1590675"/>
              <a:gd name="connsiteX1148" fmla="*/ 1068229 w 1933575"/>
              <a:gd name="connsiteY1148" fmla="*/ 758578 h 1590675"/>
              <a:gd name="connsiteX1149" fmla="*/ 1039463 w 1933575"/>
              <a:gd name="connsiteY1149" fmla="*/ 730098 h 1590675"/>
              <a:gd name="connsiteX1150" fmla="*/ 1067943 w 1933575"/>
              <a:gd name="connsiteY1150" fmla="*/ 701333 h 1590675"/>
              <a:gd name="connsiteX1151" fmla="*/ 1096709 w 1933575"/>
              <a:gd name="connsiteY1151" fmla="*/ 729813 h 1590675"/>
              <a:gd name="connsiteX1152" fmla="*/ 1489710 w 1933575"/>
              <a:gd name="connsiteY1152" fmla="*/ 1289597 h 1590675"/>
              <a:gd name="connsiteX1153" fmla="*/ 1460278 w 1933575"/>
              <a:gd name="connsiteY1153" fmla="*/ 1319220 h 1590675"/>
              <a:gd name="connsiteX1154" fmla="*/ 1431036 w 1933575"/>
              <a:gd name="connsiteY1154" fmla="*/ 1289406 h 1590675"/>
              <a:gd name="connsiteX1155" fmla="*/ 1459802 w 1933575"/>
              <a:gd name="connsiteY1155" fmla="*/ 1260546 h 1590675"/>
              <a:gd name="connsiteX1156" fmla="*/ 1489710 w 1933575"/>
              <a:gd name="connsiteY1156" fmla="*/ 1289597 h 1590675"/>
              <a:gd name="connsiteX1157" fmla="*/ 922687 w 1933575"/>
              <a:gd name="connsiteY1157" fmla="*/ 596081 h 1590675"/>
              <a:gd name="connsiteX1158" fmla="*/ 951833 w 1933575"/>
              <a:gd name="connsiteY1158" fmla="*/ 624276 h 1590675"/>
              <a:gd name="connsiteX1159" fmla="*/ 923639 w 1933575"/>
              <a:gd name="connsiteY1159" fmla="*/ 653422 h 1590675"/>
              <a:gd name="connsiteX1160" fmla="*/ 894493 w 1933575"/>
              <a:gd name="connsiteY1160" fmla="*/ 625228 h 1590675"/>
              <a:gd name="connsiteX1161" fmla="*/ 922687 w 1933575"/>
              <a:gd name="connsiteY1161" fmla="*/ 596081 h 1590675"/>
              <a:gd name="connsiteX1162" fmla="*/ 226600 w 1933575"/>
              <a:gd name="connsiteY1162" fmla="*/ 446920 h 1590675"/>
              <a:gd name="connsiteX1163" fmla="*/ 197263 w 1933575"/>
              <a:gd name="connsiteY1163" fmla="*/ 417107 h 1590675"/>
              <a:gd name="connsiteX1164" fmla="*/ 227076 w 1933575"/>
              <a:gd name="connsiteY1164" fmla="*/ 387770 h 1590675"/>
              <a:gd name="connsiteX1165" fmla="*/ 256413 w 1933575"/>
              <a:gd name="connsiteY1165" fmla="*/ 417583 h 1590675"/>
              <a:gd name="connsiteX1166" fmla="*/ 226600 w 1933575"/>
              <a:gd name="connsiteY1166" fmla="*/ 446920 h 1590675"/>
              <a:gd name="connsiteX1167" fmla="*/ 701326 w 1933575"/>
              <a:gd name="connsiteY1167" fmla="*/ 473971 h 1590675"/>
              <a:gd name="connsiteX1168" fmla="*/ 730091 w 1933575"/>
              <a:gd name="connsiteY1168" fmla="*/ 502451 h 1590675"/>
              <a:gd name="connsiteX1169" fmla="*/ 701612 w 1933575"/>
              <a:gd name="connsiteY1169" fmla="*/ 531216 h 1590675"/>
              <a:gd name="connsiteX1170" fmla="*/ 672846 w 1933575"/>
              <a:gd name="connsiteY1170" fmla="*/ 502737 h 1590675"/>
              <a:gd name="connsiteX1171" fmla="*/ 701326 w 1933575"/>
              <a:gd name="connsiteY1171" fmla="*/ 473971 h 1590675"/>
              <a:gd name="connsiteX1172" fmla="*/ 1502855 w 1933575"/>
              <a:gd name="connsiteY1172" fmla="*/ 1210158 h 1590675"/>
              <a:gd name="connsiteX1173" fmla="*/ 1475137 w 1933575"/>
              <a:gd name="connsiteY1173" fmla="*/ 1238638 h 1590675"/>
              <a:gd name="connsiteX1174" fmla="*/ 1446276 w 1933575"/>
              <a:gd name="connsiteY1174" fmla="*/ 1209872 h 1590675"/>
              <a:gd name="connsiteX1175" fmla="*/ 1474756 w 1933575"/>
              <a:gd name="connsiteY1175" fmla="*/ 1182155 h 1590675"/>
              <a:gd name="connsiteX1176" fmla="*/ 1502855 w 1933575"/>
              <a:gd name="connsiteY1176" fmla="*/ 1210158 h 1590675"/>
              <a:gd name="connsiteX1177" fmla="*/ 1408462 w 1933575"/>
              <a:gd name="connsiteY1177" fmla="*/ 1088048 h 1590675"/>
              <a:gd name="connsiteX1178" fmla="*/ 1437703 w 1933575"/>
              <a:gd name="connsiteY1178" fmla="*/ 1116242 h 1590675"/>
              <a:gd name="connsiteX1179" fmla="*/ 1409224 w 1933575"/>
              <a:gd name="connsiteY1179" fmla="*/ 1145103 h 1590675"/>
              <a:gd name="connsiteX1180" fmla="*/ 1380744 w 1933575"/>
              <a:gd name="connsiteY1180" fmla="*/ 1117671 h 1590675"/>
              <a:gd name="connsiteX1181" fmla="*/ 1408462 w 1933575"/>
              <a:gd name="connsiteY1181" fmla="*/ 1088048 h 1590675"/>
              <a:gd name="connsiteX1182" fmla="*/ 16574 w 1933575"/>
              <a:gd name="connsiteY1182" fmla="*/ 377578 h 1590675"/>
              <a:gd name="connsiteX1183" fmla="*/ 95 w 1933575"/>
              <a:gd name="connsiteY1183" fmla="*/ 403391 h 1590675"/>
              <a:gd name="connsiteX1184" fmla="*/ 95 w 1933575"/>
              <a:gd name="connsiteY1184" fmla="*/ 351765 h 1590675"/>
              <a:gd name="connsiteX1185" fmla="*/ 16574 w 1933575"/>
              <a:gd name="connsiteY1185" fmla="*/ 377578 h 1590675"/>
              <a:gd name="connsiteX1186" fmla="*/ 1241298 w 1933575"/>
              <a:gd name="connsiteY1186" fmla="*/ 837540 h 1590675"/>
              <a:gd name="connsiteX1187" fmla="*/ 1213771 w 1933575"/>
              <a:gd name="connsiteY1187" fmla="*/ 866211 h 1590675"/>
              <a:gd name="connsiteX1188" fmla="*/ 1184720 w 1933575"/>
              <a:gd name="connsiteY1188" fmla="*/ 837636 h 1590675"/>
              <a:gd name="connsiteX1189" fmla="*/ 1212914 w 1933575"/>
              <a:gd name="connsiteY1189" fmla="*/ 809632 h 1590675"/>
              <a:gd name="connsiteX1190" fmla="*/ 1241298 w 1933575"/>
              <a:gd name="connsiteY1190" fmla="*/ 837540 h 1590675"/>
              <a:gd name="connsiteX1191" fmla="*/ 1343692 w 1933575"/>
              <a:gd name="connsiteY1191" fmla="*/ 994227 h 1590675"/>
              <a:gd name="connsiteX1192" fmla="*/ 1372362 w 1933575"/>
              <a:gd name="connsiteY1192" fmla="*/ 1022992 h 1590675"/>
              <a:gd name="connsiteX1193" fmla="*/ 1343311 w 1933575"/>
              <a:gd name="connsiteY1193" fmla="*/ 1051281 h 1590675"/>
              <a:gd name="connsiteX1194" fmla="*/ 1315403 w 1933575"/>
              <a:gd name="connsiteY1194" fmla="*/ 1023278 h 1590675"/>
              <a:gd name="connsiteX1195" fmla="*/ 1343692 w 1933575"/>
              <a:gd name="connsiteY1195" fmla="*/ 994227 h 1590675"/>
              <a:gd name="connsiteX1196" fmla="*/ 1306925 w 1933575"/>
              <a:gd name="connsiteY1196" fmla="*/ 932314 h 1590675"/>
              <a:gd name="connsiteX1197" fmla="*/ 1277493 w 1933575"/>
              <a:gd name="connsiteY1197" fmla="*/ 960318 h 1590675"/>
              <a:gd name="connsiteX1198" fmla="*/ 1249871 w 1933575"/>
              <a:gd name="connsiteY1198" fmla="*/ 930504 h 1590675"/>
              <a:gd name="connsiteX1199" fmla="*/ 1278541 w 1933575"/>
              <a:gd name="connsiteY1199" fmla="*/ 903263 h 1590675"/>
              <a:gd name="connsiteX1200" fmla="*/ 1306925 w 1933575"/>
              <a:gd name="connsiteY1200" fmla="*/ 932314 h 1590675"/>
              <a:gd name="connsiteX1201" fmla="*/ 780764 w 1933575"/>
              <a:gd name="connsiteY1201" fmla="*/ 488639 h 1590675"/>
              <a:gd name="connsiteX1202" fmla="*/ 809244 w 1933575"/>
              <a:gd name="connsiteY1202" fmla="*/ 516167 h 1590675"/>
              <a:gd name="connsiteX1203" fmla="*/ 780669 w 1933575"/>
              <a:gd name="connsiteY1203" fmla="*/ 544932 h 1590675"/>
              <a:gd name="connsiteX1204" fmla="*/ 752951 w 1933575"/>
              <a:gd name="connsiteY1204" fmla="*/ 516643 h 1590675"/>
              <a:gd name="connsiteX1205" fmla="*/ 780764 w 1933575"/>
              <a:gd name="connsiteY1205" fmla="*/ 488639 h 1590675"/>
              <a:gd name="connsiteX1206" fmla="*/ 238792 w 1933575"/>
              <a:gd name="connsiteY1206" fmla="*/ 368053 h 1590675"/>
              <a:gd name="connsiteX1207" fmla="*/ 210788 w 1933575"/>
              <a:gd name="connsiteY1207" fmla="*/ 341573 h 1590675"/>
              <a:gd name="connsiteX1208" fmla="*/ 238316 w 1933575"/>
              <a:gd name="connsiteY1208" fmla="*/ 313189 h 1590675"/>
              <a:gd name="connsiteX1209" fmla="*/ 265652 w 1933575"/>
              <a:gd name="connsiteY1209" fmla="*/ 340430 h 1590675"/>
              <a:gd name="connsiteX1210" fmla="*/ 238792 w 1933575"/>
              <a:gd name="connsiteY1210" fmla="*/ 368053 h 1590675"/>
              <a:gd name="connsiteX1211" fmla="*/ 1591723 w 1933575"/>
              <a:gd name="connsiteY1211" fmla="*/ 1446664 h 1590675"/>
              <a:gd name="connsiteX1212" fmla="*/ 1618964 w 1933575"/>
              <a:gd name="connsiteY1212" fmla="*/ 1475620 h 1590675"/>
              <a:gd name="connsiteX1213" fmla="*/ 1589627 w 1933575"/>
              <a:gd name="connsiteY1213" fmla="*/ 1502480 h 1590675"/>
              <a:gd name="connsiteX1214" fmla="*/ 1563053 w 1933575"/>
              <a:gd name="connsiteY1214" fmla="*/ 1474191 h 1590675"/>
              <a:gd name="connsiteX1215" fmla="*/ 1591723 w 1933575"/>
              <a:gd name="connsiteY1215" fmla="*/ 1446664 h 1590675"/>
              <a:gd name="connsiteX1216" fmla="*/ 449485 w 1933575"/>
              <a:gd name="connsiteY1216" fmla="*/ 380340 h 1590675"/>
              <a:gd name="connsiteX1217" fmla="*/ 476536 w 1933575"/>
              <a:gd name="connsiteY1217" fmla="*/ 352908 h 1590675"/>
              <a:gd name="connsiteX1218" fmla="*/ 504349 w 1933575"/>
              <a:gd name="connsiteY1218" fmla="*/ 381102 h 1590675"/>
              <a:gd name="connsiteX1219" fmla="*/ 476536 w 1933575"/>
              <a:gd name="connsiteY1219" fmla="*/ 407868 h 1590675"/>
              <a:gd name="connsiteX1220" fmla="*/ 449485 w 1933575"/>
              <a:gd name="connsiteY1220" fmla="*/ 380340 h 1590675"/>
              <a:gd name="connsiteX1221" fmla="*/ 1539526 w 1933575"/>
              <a:gd name="connsiteY1221" fmla="*/ 1276452 h 1590675"/>
              <a:gd name="connsiteX1222" fmla="*/ 1567529 w 1933575"/>
              <a:gd name="connsiteY1222" fmla="*/ 1304456 h 1590675"/>
              <a:gd name="connsiteX1223" fmla="*/ 1540288 w 1933575"/>
              <a:gd name="connsiteY1223" fmla="*/ 1331793 h 1590675"/>
              <a:gd name="connsiteX1224" fmla="*/ 1512284 w 1933575"/>
              <a:gd name="connsiteY1224" fmla="*/ 1303789 h 1590675"/>
              <a:gd name="connsiteX1225" fmla="*/ 1539526 w 1933575"/>
              <a:gd name="connsiteY1225" fmla="*/ 1276452 h 1590675"/>
              <a:gd name="connsiteX1226" fmla="*/ 885254 w 1933575"/>
              <a:gd name="connsiteY1226" fmla="*/ 531693 h 1590675"/>
              <a:gd name="connsiteX1227" fmla="*/ 857441 w 1933575"/>
              <a:gd name="connsiteY1227" fmla="*/ 558458 h 1590675"/>
              <a:gd name="connsiteX1228" fmla="*/ 830390 w 1933575"/>
              <a:gd name="connsiteY1228" fmla="*/ 529597 h 1590675"/>
              <a:gd name="connsiteX1229" fmla="*/ 858869 w 1933575"/>
              <a:gd name="connsiteY1229" fmla="*/ 503594 h 1590675"/>
              <a:gd name="connsiteX1230" fmla="*/ 885254 w 1933575"/>
              <a:gd name="connsiteY1230" fmla="*/ 531693 h 1590675"/>
              <a:gd name="connsiteX1231" fmla="*/ 1030700 w 1933575"/>
              <a:gd name="connsiteY1231" fmla="*/ 636468 h 1590675"/>
              <a:gd name="connsiteX1232" fmla="*/ 1002030 w 1933575"/>
              <a:gd name="connsiteY1232" fmla="*/ 664090 h 1590675"/>
              <a:gd name="connsiteX1233" fmla="*/ 974789 w 1933575"/>
              <a:gd name="connsiteY1233" fmla="*/ 635134 h 1590675"/>
              <a:gd name="connsiteX1234" fmla="*/ 1002697 w 1933575"/>
              <a:gd name="connsiteY1234" fmla="*/ 608178 h 1590675"/>
              <a:gd name="connsiteX1235" fmla="*/ 1030700 w 1933575"/>
              <a:gd name="connsiteY1235" fmla="*/ 636468 h 1590675"/>
              <a:gd name="connsiteX1236" fmla="*/ 1175290 w 1933575"/>
              <a:gd name="connsiteY1236" fmla="*/ 743624 h 1590675"/>
              <a:gd name="connsiteX1237" fmla="*/ 1147477 w 1933575"/>
              <a:gd name="connsiteY1237" fmla="*/ 771818 h 1590675"/>
              <a:gd name="connsiteX1238" fmla="*/ 1119950 w 1933575"/>
              <a:gd name="connsiteY1238" fmla="*/ 744767 h 1590675"/>
              <a:gd name="connsiteX1239" fmla="*/ 1147763 w 1933575"/>
              <a:gd name="connsiteY1239" fmla="*/ 716573 h 1590675"/>
              <a:gd name="connsiteX1240" fmla="*/ 1175290 w 1933575"/>
              <a:gd name="connsiteY1240" fmla="*/ 743624 h 1590675"/>
              <a:gd name="connsiteX1241" fmla="*/ 318040 w 1933575"/>
              <a:gd name="connsiteY1241" fmla="*/ 379578 h 1590675"/>
              <a:gd name="connsiteX1242" fmla="*/ 290132 w 1933575"/>
              <a:gd name="connsiteY1242" fmla="*/ 351479 h 1590675"/>
              <a:gd name="connsiteX1243" fmla="*/ 317468 w 1933575"/>
              <a:gd name="connsiteY1243" fmla="*/ 324238 h 1590675"/>
              <a:gd name="connsiteX1244" fmla="*/ 345377 w 1933575"/>
              <a:gd name="connsiteY1244" fmla="*/ 352337 h 1590675"/>
              <a:gd name="connsiteX1245" fmla="*/ 318040 w 1933575"/>
              <a:gd name="connsiteY1245" fmla="*/ 379578 h 1590675"/>
              <a:gd name="connsiteX1246" fmla="*/ 425006 w 1933575"/>
              <a:gd name="connsiteY1246" fmla="*/ 366338 h 1590675"/>
              <a:gd name="connsiteX1247" fmla="*/ 396526 w 1933575"/>
              <a:gd name="connsiteY1247" fmla="*/ 393771 h 1590675"/>
              <a:gd name="connsiteX1248" fmla="*/ 369761 w 1933575"/>
              <a:gd name="connsiteY1248" fmla="*/ 365958 h 1590675"/>
              <a:gd name="connsiteX1249" fmla="*/ 398336 w 1933575"/>
              <a:gd name="connsiteY1249" fmla="*/ 338526 h 1590675"/>
              <a:gd name="connsiteX1250" fmla="*/ 425006 w 1933575"/>
              <a:gd name="connsiteY1250" fmla="*/ 366338 h 1590675"/>
              <a:gd name="connsiteX1251" fmla="*/ 161068 w 1933575"/>
              <a:gd name="connsiteY1251" fmla="*/ 353385 h 1590675"/>
              <a:gd name="connsiteX1252" fmla="*/ 134398 w 1933575"/>
              <a:gd name="connsiteY1252" fmla="*/ 326048 h 1590675"/>
              <a:gd name="connsiteX1253" fmla="*/ 161735 w 1933575"/>
              <a:gd name="connsiteY1253" fmla="*/ 299378 h 1590675"/>
              <a:gd name="connsiteX1254" fmla="*/ 188405 w 1933575"/>
              <a:gd name="connsiteY1254" fmla="*/ 326714 h 1590675"/>
              <a:gd name="connsiteX1255" fmla="*/ 161068 w 1933575"/>
              <a:gd name="connsiteY1255" fmla="*/ 353385 h 1590675"/>
              <a:gd name="connsiteX1256" fmla="*/ 583692 w 1933575"/>
              <a:gd name="connsiteY1256" fmla="*/ 395104 h 1590675"/>
              <a:gd name="connsiteX1257" fmla="*/ 556260 w 1933575"/>
              <a:gd name="connsiteY1257" fmla="*/ 421774 h 1590675"/>
              <a:gd name="connsiteX1258" fmla="*/ 529209 w 1933575"/>
              <a:gd name="connsiteY1258" fmla="*/ 393294 h 1590675"/>
              <a:gd name="connsiteX1259" fmla="*/ 557308 w 1933575"/>
              <a:gd name="connsiteY1259" fmla="*/ 367291 h 1590675"/>
              <a:gd name="connsiteX1260" fmla="*/ 583692 w 1933575"/>
              <a:gd name="connsiteY1260" fmla="*/ 395104 h 1590675"/>
              <a:gd name="connsiteX1261" fmla="*/ 1318927 w 1933575"/>
              <a:gd name="connsiteY1261" fmla="*/ 852209 h 1590675"/>
              <a:gd name="connsiteX1262" fmla="*/ 1291876 w 1933575"/>
              <a:gd name="connsiteY1262" fmla="*/ 878498 h 1590675"/>
              <a:gd name="connsiteX1263" fmla="*/ 1266349 w 1933575"/>
              <a:gd name="connsiteY1263" fmla="*/ 852113 h 1590675"/>
              <a:gd name="connsiteX1264" fmla="*/ 1293400 w 1933575"/>
              <a:gd name="connsiteY1264" fmla="*/ 825825 h 1590675"/>
              <a:gd name="connsiteX1265" fmla="*/ 1318927 w 1933575"/>
              <a:gd name="connsiteY1265" fmla="*/ 852209 h 1590675"/>
              <a:gd name="connsiteX1266" fmla="*/ 1628775 w 1933575"/>
              <a:gd name="connsiteY1266" fmla="*/ 1397325 h 1590675"/>
              <a:gd name="connsiteX1267" fmla="*/ 1602391 w 1933575"/>
              <a:gd name="connsiteY1267" fmla="*/ 1424280 h 1590675"/>
              <a:gd name="connsiteX1268" fmla="*/ 1576197 w 1933575"/>
              <a:gd name="connsiteY1268" fmla="*/ 1398563 h 1590675"/>
              <a:gd name="connsiteX1269" fmla="*/ 1602581 w 1933575"/>
              <a:gd name="connsiteY1269" fmla="*/ 1371607 h 1590675"/>
              <a:gd name="connsiteX1270" fmla="*/ 1628775 w 1933575"/>
              <a:gd name="connsiteY1270" fmla="*/ 1397325 h 1590675"/>
              <a:gd name="connsiteX1271" fmla="*/ 1449896 w 1933575"/>
              <a:gd name="connsiteY1271" fmla="*/ 1036708 h 1590675"/>
              <a:gd name="connsiteX1272" fmla="*/ 1424369 w 1933575"/>
              <a:gd name="connsiteY1272" fmla="*/ 1063473 h 1590675"/>
              <a:gd name="connsiteX1273" fmla="*/ 1396937 w 1933575"/>
              <a:gd name="connsiteY1273" fmla="*/ 1037279 h 1590675"/>
              <a:gd name="connsiteX1274" fmla="*/ 1423892 w 1933575"/>
              <a:gd name="connsiteY1274" fmla="*/ 1010514 h 1590675"/>
              <a:gd name="connsiteX1275" fmla="*/ 1449896 w 1933575"/>
              <a:gd name="connsiteY1275" fmla="*/ 1036708 h 1590675"/>
              <a:gd name="connsiteX1276" fmla="*/ 636079 w 1933575"/>
              <a:gd name="connsiteY1276" fmla="*/ 435300 h 1590675"/>
              <a:gd name="connsiteX1277" fmla="*/ 609600 w 1933575"/>
              <a:gd name="connsiteY1277" fmla="*/ 408153 h 1590675"/>
              <a:gd name="connsiteX1278" fmla="*/ 636079 w 1933575"/>
              <a:gd name="connsiteY1278" fmla="*/ 382341 h 1590675"/>
              <a:gd name="connsiteX1279" fmla="*/ 662559 w 1933575"/>
              <a:gd name="connsiteY1279" fmla="*/ 409487 h 1590675"/>
              <a:gd name="connsiteX1280" fmla="*/ 636079 w 1933575"/>
              <a:gd name="connsiteY1280" fmla="*/ 435300 h 1590675"/>
              <a:gd name="connsiteX1281" fmla="*/ 1357789 w 1933575"/>
              <a:gd name="connsiteY1281" fmla="*/ 972700 h 1590675"/>
              <a:gd name="connsiteX1282" fmla="*/ 1331309 w 1933575"/>
              <a:gd name="connsiteY1282" fmla="*/ 945459 h 1590675"/>
              <a:gd name="connsiteX1283" fmla="*/ 1358932 w 1933575"/>
              <a:gd name="connsiteY1283" fmla="*/ 919360 h 1590675"/>
              <a:gd name="connsiteX1284" fmla="*/ 1384649 w 1933575"/>
              <a:gd name="connsiteY1284" fmla="*/ 945935 h 1590675"/>
              <a:gd name="connsiteX1285" fmla="*/ 1357789 w 1933575"/>
              <a:gd name="connsiteY1285" fmla="*/ 972700 h 1590675"/>
              <a:gd name="connsiteX1286" fmla="*/ 81439 w 1933575"/>
              <a:gd name="connsiteY1286" fmla="*/ 338430 h 1590675"/>
              <a:gd name="connsiteX1287" fmla="*/ 55531 w 1933575"/>
              <a:gd name="connsiteY1287" fmla="*/ 310998 h 1590675"/>
              <a:gd name="connsiteX1288" fmla="*/ 82296 w 1933575"/>
              <a:gd name="connsiteY1288" fmla="*/ 285852 h 1590675"/>
              <a:gd name="connsiteX1289" fmla="*/ 108204 w 1933575"/>
              <a:gd name="connsiteY1289" fmla="*/ 313284 h 1590675"/>
              <a:gd name="connsiteX1290" fmla="*/ 81439 w 1933575"/>
              <a:gd name="connsiteY1290" fmla="*/ 338430 h 1590675"/>
              <a:gd name="connsiteX1291" fmla="*/ 1627442 w 1933575"/>
              <a:gd name="connsiteY1291" fmla="*/ 1568489 h 1590675"/>
              <a:gd name="connsiteX1292" fmla="*/ 1654493 w 1933575"/>
              <a:gd name="connsiteY1292" fmla="*/ 1542200 h 1590675"/>
              <a:gd name="connsiteX1293" fmla="*/ 1679639 w 1933575"/>
              <a:gd name="connsiteY1293" fmla="*/ 1568965 h 1590675"/>
              <a:gd name="connsiteX1294" fmla="*/ 1667828 w 1933575"/>
              <a:gd name="connsiteY1294" fmla="*/ 1590492 h 1590675"/>
              <a:gd name="connsiteX1295" fmla="*/ 1639253 w 1933575"/>
              <a:gd name="connsiteY1295" fmla="*/ 1590492 h 1590675"/>
              <a:gd name="connsiteX1296" fmla="*/ 1627442 w 1933575"/>
              <a:gd name="connsiteY1296" fmla="*/ 1568489 h 1590675"/>
              <a:gd name="connsiteX1297" fmla="*/ 1108424 w 1933575"/>
              <a:gd name="connsiteY1297" fmla="*/ 650755 h 1590675"/>
              <a:gd name="connsiteX1298" fmla="*/ 1082326 w 1933575"/>
              <a:gd name="connsiteY1298" fmla="*/ 676568 h 1590675"/>
              <a:gd name="connsiteX1299" fmla="*/ 1056132 w 1933575"/>
              <a:gd name="connsiteY1299" fmla="*/ 649421 h 1590675"/>
              <a:gd name="connsiteX1300" fmla="*/ 1082897 w 1933575"/>
              <a:gd name="connsiteY1300" fmla="*/ 624276 h 1590675"/>
              <a:gd name="connsiteX1301" fmla="*/ 1108424 w 1933575"/>
              <a:gd name="connsiteY1301" fmla="*/ 650755 h 1590675"/>
              <a:gd name="connsiteX1302" fmla="*/ 937927 w 1933575"/>
              <a:gd name="connsiteY1302" fmla="*/ 519120 h 1590675"/>
              <a:gd name="connsiteX1303" fmla="*/ 963549 w 1933575"/>
              <a:gd name="connsiteY1303" fmla="*/ 545409 h 1590675"/>
              <a:gd name="connsiteX1304" fmla="*/ 936117 w 1933575"/>
              <a:gd name="connsiteY1304" fmla="*/ 571317 h 1590675"/>
              <a:gd name="connsiteX1305" fmla="*/ 911257 w 1933575"/>
              <a:gd name="connsiteY1305" fmla="*/ 544266 h 1590675"/>
              <a:gd name="connsiteX1306" fmla="*/ 937927 w 1933575"/>
              <a:gd name="connsiteY1306" fmla="*/ 519120 h 1590675"/>
              <a:gd name="connsiteX1307" fmla="*/ 1515047 w 1933575"/>
              <a:gd name="connsiteY1307" fmla="*/ 1131101 h 1590675"/>
              <a:gd name="connsiteX1308" fmla="*/ 1487710 w 1933575"/>
              <a:gd name="connsiteY1308" fmla="*/ 1157104 h 1590675"/>
              <a:gd name="connsiteX1309" fmla="*/ 1462469 w 1933575"/>
              <a:gd name="connsiteY1309" fmla="*/ 1130434 h 1590675"/>
              <a:gd name="connsiteX1310" fmla="*/ 1489805 w 1933575"/>
              <a:gd name="connsiteY1310" fmla="*/ 1104431 h 1590675"/>
              <a:gd name="connsiteX1311" fmla="*/ 1515047 w 1933575"/>
              <a:gd name="connsiteY1311" fmla="*/ 1131101 h 1590675"/>
              <a:gd name="connsiteX1312" fmla="*/ 715423 w 1933575"/>
              <a:gd name="connsiteY1312" fmla="*/ 448920 h 1590675"/>
              <a:gd name="connsiteX1313" fmla="*/ 689801 w 1933575"/>
              <a:gd name="connsiteY1313" fmla="*/ 422822 h 1590675"/>
              <a:gd name="connsiteX1314" fmla="*/ 715899 w 1933575"/>
              <a:gd name="connsiteY1314" fmla="*/ 397200 h 1590675"/>
              <a:gd name="connsiteX1315" fmla="*/ 741521 w 1933575"/>
              <a:gd name="connsiteY1315" fmla="*/ 423298 h 1590675"/>
              <a:gd name="connsiteX1316" fmla="*/ 715423 w 1933575"/>
              <a:gd name="connsiteY1316" fmla="*/ 448920 h 1590675"/>
              <a:gd name="connsiteX1317" fmla="*/ 28004 w 1933575"/>
              <a:gd name="connsiteY1317" fmla="*/ 297759 h 1590675"/>
              <a:gd name="connsiteX1318" fmla="*/ 2096 w 1933575"/>
              <a:gd name="connsiteY1318" fmla="*/ 323762 h 1590675"/>
              <a:gd name="connsiteX1319" fmla="*/ 95 w 1933575"/>
              <a:gd name="connsiteY1319" fmla="*/ 323571 h 1590675"/>
              <a:gd name="connsiteX1320" fmla="*/ 95 w 1933575"/>
              <a:gd name="connsiteY1320" fmla="*/ 272422 h 1590675"/>
              <a:gd name="connsiteX1321" fmla="*/ 1715 w 1933575"/>
              <a:gd name="connsiteY1321" fmla="*/ 272231 h 1590675"/>
              <a:gd name="connsiteX1322" fmla="*/ 28004 w 1933575"/>
              <a:gd name="connsiteY1322" fmla="*/ 297759 h 1590675"/>
              <a:gd name="connsiteX1323" fmla="*/ 1201484 w 1933575"/>
              <a:gd name="connsiteY1323" fmla="*/ 757721 h 1590675"/>
              <a:gd name="connsiteX1324" fmla="*/ 1228249 w 1933575"/>
              <a:gd name="connsiteY1324" fmla="*/ 732575 h 1590675"/>
              <a:gd name="connsiteX1325" fmla="*/ 1253014 w 1933575"/>
              <a:gd name="connsiteY1325" fmla="*/ 759721 h 1590675"/>
              <a:gd name="connsiteX1326" fmla="*/ 1226915 w 1933575"/>
              <a:gd name="connsiteY1326" fmla="*/ 784105 h 1590675"/>
              <a:gd name="connsiteX1327" fmla="*/ 1201484 w 1933575"/>
              <a:gd name="connsiteY1327" fmla="*/ 757721 h 1590675"/>
              <a:gd name="connsiteX1328" fmla="*/ 1016318 w 1933575"/>
              <a:gd name="connsiteY1328" fmla="*/ 584747 h 1590675"/>
              <a:gd name="connsiteX1329" fmla="*/ 991648 w 1933575"/>
              <a:gd name="connsiteY1329" fmla="*/ 558839 h 1590675"/>
              <a:gd name="connsiteX1330" fmla="*/ 1017556 w 1933575"/>
              <a:gd name="connsiteY1330" fmla="*/ 534169 h 1590675"/>
              <a:gd name="connsiteX1331" fmla="*/ 1042226 w 1933575"/>
              <a:gd name="connsiteY1331" fmla="*/ 560077 h 1590675"/>
              <a:gd name="connsiteX1332" fmla="*/ 1016318 w 1933575"/>
              <a:gd name="connsiteY1332" fmla="*/ 584747 h 1590675"/>
              <a:gd name="connsiteX1333" fmla="*/ 1641920 w 1933575"/>
              <a:gd name="connsiteY1333" fmla="*/ 1318267 h 1590675"/>
              <a:gd name="connsiteX1334" fmla="*/ 1616678 w 1933575"/>
              <a:gd name="connsiteY1334" fmla="*/ 1343604 h 1590675"/>
              <a:gd name="connsiteX1335" fmla="*/ 1591342 w 1933575"/>
              <a:gd name="connsiteY1335" fmla="*/ 1318362 h 1590675"/>
              <a:gd name="connsiteX1336" fmla="*/ 1616583 w 1933575"/>
              <a:gd name="connsiteY1336" fmla="*/ 1293026 h 1590675"/>
              <a:gd name="connsiteX1337" fmla="*/ 1641920 w 1933575"/>
              <a:gd name="connsiteY1337" fmla="*/ 1318267 h 1590675"/>
              <a:gd name="connsiteX1338" fmla="*/ 1667256 w 1933575"/>
              <a:gd name="connsiteY1338" fmla="*/ 1463428 h 1590675"/>
              <a:gd name="connsiteX1339" fmla="*/ 1693259 w 1933575"/>
              <a:gd name="connsiteY1339" fmla="*/ 1487907 h 1590675"/>
              <a:gd name="connsiteX1340" fmla="*/ 1667732 w 1933575"/>
              <a:gd name="connsiteY1340" fmla="*/ 1514196 h 1590675"/>
              <a:gd name="connsiteX1341" fmla="*/ 1642491 w 1933575"/>
              <a:gd name="connsiteY1341" fmla="*/ 1488955 h 1590675"/>
              <a:gd name="connsiteX1342" fmla="*/ 1667256 w 1933575"/>
              <a:gd name="connsiteY1342" fmla="*/ 1463428 h 1590675"/>
              <a:gd name="connsiteX1343" fmla="*/ 817912 w 1933575"/>
              <a:gd name="connsiteY1343" fmla="*/ 436633 h 1590675"/>
              <a:gd name="connsiteX1344" fmla="*/ 793337 w 1933575"/>
              <a:gd name="connsiteY1344" fmla="*/ 462731 h 1590675"/>
              <a:gd name="connsiteX1345" fmla="*/ 766858 w 1933575"/>
              <a:gd name="connsiteY1345" fmla="*/ 437109 h 1590675"/>
              <a:gd name="connsiteX1346" fmla="*/ 792194 w 1933575"/>
              <a:gd name="connsiteY1346" fmla="*/ 411773 h 1590675"/>
              <a:gd name="connsiteX1347" fmla="*/ 817912 w 1933575"/>
              <a:gd name="connsiteY1347" fmla="*/ 436633 h 1590675"/>
              <a:gd name="connsiteX1348" fmla="*/ 1551813 w 1933575"/>
              <a:gd name="connsiteY1348" fmla="*/ 1250259 h 1590675"/>
              <a:gd name="connsiteX1349" fmla="*/ 1525524 w 1933575"/>
              <a:gd name="connsiteY1349" fmla="*/ 1224636 h 1590675"/>
              <a:gd name="connsiteX1350" fmla="*/ 1551527 w 1933575"/>
              <a:gd name="connsiteY1350" fmla="*/ 1198728 h 1590675"/>
              <a:gd name="connsiteX1351" fmla="*/ 1577054 w 1933575"/>
              <a:gd name="connsiteY1351" fmla="*/ 1223684 h 1590675"/>
              <a:gd name="connsiteX1352" fmla="*/ 1551813 w 1933575"/>
              <a:gd name="connsiteY1352" fmla="*/ 1250259 h 1590675"/>
              <a:gd name="connsiteX1353" fmla="*/ 1161764 w 1933575"/>
              <a:gd name="connsiteY1353" fmla="*/ 639420 h 1590675"/>
              <a:gd name="connsiteX1354" fmla="*/ 1187006 w 1933575"/>
              <a:gd name="connsiteY1354" fmla="*/ 664852 h 1590675"/>
              <a:gd name="connsiteX1355" fmla="*/ 1161193 w 1933575"/>
              <a:gd name="connsiteY1355" fmla="*/ 689808 h 1590675"/>
              <a:gd name="connsiteX1356" fmla="*/ 1136618 w 1933575"/>
              <a:gd name="connsiteY1356" fmla="*/ 665043 h 1590675"/>
              <a:gd name="connsiteX1357" fmla="*/ 1161764 w 1933575"/>
              <a:gd name="connsiteY1357" fmla="*/ 639420 h 1590675"/>
              <a:gd name="connsiteX1358" fmla="*/ 1462659 w 1933575"/>
              <a:gd name="connsiteY1358" fmla="*/ 959841 h 1590675"/>
              <a:gd name="connsiteX1359" fmla="*/ 1437608 w 1933575"/>
              <a:gd name="connsiteY1359" fmla="*/ 985178 h 1590675"/>
              <a:gd name="connsiteX1360" fmla="*/ 1412557 w 1933575"/>
              <a:gd name="connsiteY1360" fmla="*/ 959746 h 1590675"/>
              <a:gd name="connsiteX1361" fmla="*/ 1436942 w 1933575"/>
              <a:gd name="connsiteY1361" fmla="*/ 935076 h 1590675"/>
              <a:gd name="connsiteX1362" fmla="*/ 1462659 w 1933575"/>
              <a:gd name="connsiteY1362" fmla="*/ 959841 h 1590675"/>
              <a:gd name="connsiteX1363" fmla="*/ 1524953 w 1933575"/>
              <a:gd name="connsiteY1363" fmla="*/ 1050900 h 1590675"/>
              <a:gd name="connsiteX1364" fmla="*/ 1499616 w 1933575"/>
              <a:gd name="connsiteY1364" fmla="*/ 1076046 h 1590675"/>
              <a:gd name="connsiteX1365" fmla="*/ 1475232 w 1933575"/>
              <a:gd name="connsiteY1365" fmla="*/ 1051472 h 1590675"/>
              <a:gd name="connsiteX1366" fmla="*/ 1500569 w 1933575"/>
              <a:gd name="connsiteY1366" fmla="*/ 1026326 h 1590675"/>
              <a:gd name="connsiteX1367" fmla="*/ 1524953 w 1933575"/>
              <a:gd name="connsiteY1367" fmla="*/ 1050900 h 1590675"/>
              <a:gd name="connsiteX1368" fmla="*/ 872681 w 1933575"/>
              <a:gd name="connsiteY1368" fmla="*/ 426822 h 1590675"/>
              <a:gd name="connsiteX1369" fmla="*/ 896684 w 1933575"/>
              <a:gd name="connsiteY1369" fmla="*/ 451778 h 1590675"/>
              <a:gd name="connsiteX1370" fmla="*/ 870585 w 1933575"/>
              <a:gd name="connsiteY1370" fmla="*/ 476067 h 1590675"/>
              <a:gd name="connsiteX1371" fmla="*/ 847344 w 1933575"/>
              <a:gd name="connsiteY1371" fmla="*/ 450444 h 1590675"/>
              <a:gd name="connsiteX1372" fmla="*/ 872681 w 1933575"/>
              <a:gd name="connsiteY1372" fmla="*/ 426822 h 1590675"/>
              <a:gd name="connsiteX1373" fmla="*/ 1371600 w 1933575"/>
              <a:gd name="connsiteY1373" fmla="*/ 891261 h 1590675"/>
              <a:gd name="connsiteX1374" fmla="*/ 1347407 w 1933575"/>
              <a:gd name="connsiteY1374" fmla="*/ 865068 h 1590675"/>
              <a:gd name="connsiteX1375" fmla="*/ 1372838 w 1933575"/>
              <a:gd name="connsiteY1375" fmla="*/ 841541 h 1590675"/>
              <a:gd name="connsiteX1376" fmla="*/ 1397032 w 1933575"/>
              <a:gd name="connsiteY1376" fmla="*/ 867735 h 1590675"/>
              <a:gd name="connsiteX1377" fmla="*/ 1371600 w 1933575"/>
              <a:gd name="connsiteY1377" fmla="*/ 891261 h 1590675"/>
              <a:gd name="connsiteX1378" fmla="*/ 411575 w 1933575"/>
              <a:gd name="connsiteY1378" fmla="*/ 264516 h 1590675"/>
              <a:gd name="connsiteX1379" fmla="*/ 436340 w 1933575"/>
              <a:gd name="connsiteY1379" fmla="*/ 290138 h 1590675"/>
              <a:gd name="connsiteX1380" fmla="*/ 411385 w 1933575"/>
              <a:gd name="connsiteY1380" fmla="*/ 314237 h 1590675"/>
              <a:gd name="connsiteX1381" fmla="*/ 386620 w 1933575"/>
              <a:gd name="connsiteY1381" fmla="*/ 288614 h 1590675"/>
              <a:gd name="connsiteX1382" fmla="*/ 411575 w 1933575"/>
              <a:gd name="connsiteY1382" fmla="*/ 264516 h 1590675"/>
              <a:gd name="connsiteX1383" fmla="*/ 332232 w 1933575"/>
              <a:gd name="connsiteY1383" fmla="*/ 250324 h 1590675"/>
              <a:gd name="connsiteX1384" fmla="*/ 356807 w 1933575"/>
              <a:gd name="connsiteY1384" fmla="*/ 276232 h 1590675"/>
              <a:gd name="connsiteX1385" fmla="*/ 331661 w 1933575"/>
              <a:gd name="connsiteY1385" fmla="*/ 300045 h 1590675"/>
              <a:gd name="connsiteX1386" fmla="*/ 307086 w 1933575"/>
              <a:gd name="connsiteY1386" fmla="*/ 274137 h 1590675"/>
              <a:gd name="connsiteX1387" fmla="*/ 332232 w 1933575"/>
              <a:gd name="connsiteY1387" fmla="*/ 250324 h 1590675"/>
              <a:gd name="connsiteX1388" fmla="*/ 252317 w 1933575"/>
              <a:gd name="connsiteY1388" fmla="*/ 285662 h 1590675"/>
              <a:gd name="connsiteX1389" fmla="*/ 227743 w 1933575"/>
              <a:gd name="connsiteY1389" fmla="*/ 261278 h 1590675"/>
              <a:gd name="connsiteX1390" fmla="*/ 253175 w 1933575"/>
              <a:gd name="connsiteY1390" fmla="*/ 236322 h 1590675"/>
              <a:gd name="connsiteX1391" fmla="*/ 276987 w 1933575"/>
              <a:gd name="connsiteY1391" fmla="*/ 261468 h 1590675"/>
              <a:gd name="connsiteX1392" fmla="*/ 252317 w 1933575"/>
              <a:gd name="connsiteY1392" fmla="*/ 285662 h 1590675"/>
              <a:gd name="connsiteX1393" fmla="*/ 1564957 w 1933575"/>
              <a:gd name="connsiteY1393" fmla="*/ 1169105 h 1590675"/>
              <a:gd name="connsiteX1394" fmla="*/ 1541336 w 1933575"/>
              <a:gd name="connsiteY1394" fmla="*/ 1144055 h 1590675"/>
              <a:gd name="connsiteX1395" fmla="*/ 1566767 w 1933575"/>
              <a:gd name="connsiteY1395" fmla="*/ 1120909 h 1590675"/>
              <a:gd name="connsiteX1396" fmla="*/ 1589627 w 1933575"/>
              <a:gd name="connsiteY1396" fmla="*/ 1145198 h 1590675"/>
              <a:gd name="connsiteX1397" fmla="*/ 1564957 w 1933575"/>
              <a:gd name="connsiteY1397" fmla="*/ 1169105 h 1590675"/>
              <a:gd name="connsiteX1398" fmla="*/ 1307211 w 1933575"/>
              <a:gd name="connsiteY1398" fmla="*/ 796773 h 1590675"/>
              <a:gd name="connsiteX1399" fmla="*/ 1282732 w 1933575"/>
              <a:gd name="connsiteY1399" fmla="*/ 772675 h 1590675"/>
              <a:gd name="connsiteX1400" fmla="*/ 1307211 w 1933575"/>
              <a:gd name="connsiteY1400" fmla="*/ 748577 h 1590675"/>
              <a:gd name="connsiteX1401" fmla="*/ 1331024 w 1933575"/>
              <a:gd name="connsiteY1401" fmla="*/ 772008 h 1590675"/>
              <a:gd name="connsiteX1402" fmla="*/ 1307211 w 1933575"/>
              <a:gd name="connsiteY1402" fmla="*/ 796773 h 1590675"/>
              <a:gd name="connsiteX1403" fmla="*/ 570357 w 1933575"/>
              <a:gd name="connsiteY1403" fmla="*/ 290901 h 1590675"/>
              <a:gd name="connsiteX1404" fmla="*/ 594836 w 1933575"/>
              <a:gd name="connsiteY1404" fmla="*/ 314999 h 1590675"/>
              <a:gd name="connsiteX1405" fmla="*/ 570357 w 1933575"/>
              <a:gd name="connsiteY1405" fmla="*/ 339097 h 1590675"/>
              <a:gd name="connsiteX1406" fmla="*/ 546545 w 1933575"/>
              <a:gd name="connsiteY1406" fmla="*/ 315666 h 1590675"/>
              <a:gd name="connsiteX1407" fmla="*/ 570357 w 1933575"/>
              <a:gd name="connsiteY1407" fmla="*/ 290901 h 1590675"/>
              <a:gd name="connsiteX1408" fmla="*/ 491490 w 1933575"/>
              <a:gd name="connsiteY1408" fmla="*/ 276422 h 1590675"/>
              <a:gd name="connsiteX1409" fmla="*/ 515588 w 1933575"/>
              <a:gd name="connsiteY1409" fmla="*/ 301187 h 1590675"/>
              <a:gd name="connsiteX1410" fmla="*/ 490823 w 1933575"/>
              <a:gd name="connsiteY1410" fmla="*/ 325286 h 1590675"/>
              <a:gd name="connsiteX1411" fmla="*/ 466725 w 1933575"/>
              <a:gd name="connsiteY1411" fmla="*/ 300521 h 1590675"/>
              <a:gd name="connsiteX1412" fmla="*/ 491490 w 1933575"/>
              <a:gd name="connsiteY1412" fmla="*/ 276422 h 1590675"/>
              <a:gd name="connsiteX1413" fmla="*/ 199739 w 1933575"/>
              <a:gd name="connsiteY1413" fmla="*/ 246323 h 1590675"/>
              <a:gd name="connsiteX1414" fmla="*/ 175736 w 1933575"/>
              <a:gd name="connsiteY1414" fmla="*/ 270898 h 1590675"/>
              <a:gd name="connsiteX1415" fmla="*/ 151448 w 1933575"/>
              <a:gd name="connsiteY1415" fmla="*/ 246514 h 1590675"/>
              <a:gd name="connsiteX1416" fmla="*/ 174784 w 1933575"/>
              <a:gd name="connsiteY1416" fmla="*/ 222606 h 1590675"/>
              <a:gd name="connsiteX1417" fmla="*/ 199739 w 1933575"/>
              <a:gd name="connsiteY1417" fmla="*/ 246323 h 1590675"/>
              <a:gd name="connsiteX1418" fmla="*/ 119348 w 1933575"/>
              <a:gd name="connsiteY1418" fmla="*/ 232703 h 1590675"/>
              <a:gd name="connsiteX1419" fmla="*/ 96012 w 1933575"/>
              <a:gd name="connsiteY1419" fmla="*/ 255848 h 1590675"/>
              <a:gd name="connsiteX1420" fmla="*/ 72866 w 1933575"/>
              <a:gd name="connsiteY1420" fmla="*/ 232512 h 1590675"/>
              <a:gd name="connsiteX1421" fmla="*/ 96203 w 1933575"/>
              <a:gd name="connsiteY1421" fmla="*/ 209367 h 1590675"/>
              <a:gd name="connsiteX1422" fmla="*/ 119348 w 1933575"/>
              <a:gd name="connsiteY1422" fmla="*/ 232703 h 1590675"/>
              <a:gd name="connsiteX1423" fmla="*/ 1120140 w 1933575"/>
              <a:gd name="connsiteY1423" fmla="*/ 574174 h 1590675"/>
              <a:gd name="connsiteX1424" fmla="*/ 1095375 w 1933575"/>
              <a:gd name="connsiteY1424" fmla="*/ 597225 h 1590675"/>
              <a:gd name="connsiteX1425" fmla="*/ 1072991 w 1933575"/>
              <a:gd name="connsiteY1425" fmla="*/ 573126 h 1590675"/>
              <a:gd name="connsiteX1426" fmla="*/ 1097756 w 1933575"/>
              <a:gd name="connsiteY1426" fmla="*/ 550076 h 1590675"/>
              <a:gd name="connsiteX1427" fmla="*/ 1120140 w 1933575"/>
              <a:gd name="connsiteY1427" fmla="*/ 574174 h 1590675"/>
              <a:gd name="connsiteX1428" fmla="*/ 1682591 w 1933575"/>
              <a:gd name="connsiteY1428" fmla="*/ 1432853 h 1590675"/>
              <a:gd name="connsiteX1429" fmla="*/ 1658398 w 1933575"/>
              <a:gd name="connsiteY1429" fmla="*/ 1409136 h 1590675"/>
              <a:gd name="connsiteX1430" fmla="*/ 1681353 w 1933575"/>
              <a:gd name="connsiteY1430" fmla="*/ 1385609 h 1590675"/>
              <a:gd name="connsiteX1431" fmla="*/ 1705547 w 1933575"/>
              <a:gd name="connsiteY1431" fmla="*/ 1409326 h 1590675"/>
              <a:gd name="connsiteX1432" fmla="*/ 1682591 w 1933575"/>
              <a:gd name="connsiteY1432" fmla="*/ 1432853 h 1590675"/>
              <a:gd name="connsiteX1433" fmla="*/ 673703 w 1933575"/>
              <a:gd name="connsiteY1433" fmla="*/ 328620 h 1590675"/>
              <a:gd name="connsiteX1434" fmla="*/ 651224 w 1933575"/>
              <a:gd name="connsiteY1434" fmla="*/ 352622 h 1590675"/>
              <a:gd name="connsiteX1435" fmla="*/ 626936 w 1933575"/>
              <a:gd name="connsiteY1435" fmla="*/ 329096 h 1590675"/>
              <a:gd name="connsiteX1436" fmla="*/ 650177 w 1933575"/>
              <a:gd name="connsiteY1436" fmla="*/ 305855 h 1590675"/>
              <a:gd name="connsiteX1437" fmla="*/ 673703 w 1933575"/>
              <a:gd name="connsiteY1437" fmla="*/ 328620 h 1590675"/>
              <a:gd name="connsiteX1438" fmla="*/ 1711262 w 1933575"/>
              <a:gd name="connsiteY1438" fmla="*/ 1590587 h 1590675"/>
              <a:gd name="connsiteX1439" fmla="*/ 1709928 w 1933575"/>
              <a:gd name="connsiteY1439" fmla="*/ 1582395 h 1590675"/>
              <a:gd name="connsiteX1440" fmla="*/ 1733455 w 1933575"/>
              <a:gd name="connsiteY1440" fmla="*/ 1559440 h 1590675"/>
              <a:gd name="connsiteX1441" fmla="*/ 1756410 w 1933575"/>
              <a:gd name="connsiteY1441" fmla="*/ 1582967 h 1590675"/>
              <a:gd name="connsiteX1442" fmla="*/ 1755077 w 1933575"/>
              <a:gd name="connsiteY1442" fmla="*/ 1590587 h 1590675"/>
              <a:gd name="connsiteX1443" fmla="*/ 1711262 w 1933575"/>
              <a:gd name="connsiteY1443" fmla="*/ 1590587 h 1590675"/>
              <a:gd name="connsiteX1444" fmla="*/ 974789 w 1933575"/>
              <a:gd name="connsiteY1444" fmla="*/ 465018 h 1590675"/>
              <a:gd name="connsiteX1445" fmla="*/ 952214 w 1933575"/>
              <a:gd name="connsiteY1445" fmla="*/ 488925 h 1590675"/>
              <a:gd name="connsiteX1446" fmla="*/ 928307 w 1933575"/>
              <a:gd name="connsiteY1446" fmla="*/ 466351 h 1590675"/>
              <a:gd name="connsiteX1447" fmla="*/ 950881 w 1933575"/>
              <a:gd name="connsiteY1447" fmla="*/ 442443 h 1590675"/>
              <a:gd name="connsiteX1448" fmla="*/ 974789 w 1933575"/>
              <a:gd name="connsiteY1448" fmla="*/ 465018 h 1590675"/>
              <a:gd name="connsiteX1449" fmla="*/ 1536859 w 1933575"/>
              <a:gd name="connsiteY1449" fmla="*/ 971843 h 1590675"/>
              <a:gd name="connsiteX1450" fmla="*/ 1513999 w 1933575"/>
              <a:gd name="connsiteY1450" fmla="*/ 994036 h 1590675"/>
              <a:gd name="connsiteX1451" fmla="*/ 1491806 w 1933575"/>
              <a:gd name="connsiteY1451" fmla="*/ 971176 h 1590675"/>
              <a:gd name="connsiteX1452" fmla="*/ 1514666 w 1933575"/>
              <a:gd name="connsiteY1452" fmla="*/ 948983 h 1590675"/>
              <a:gd name="connsiteX1453" fmla="*/ 1536859 w 1933575"/>
              <a:gd name="connsiteY1453" fmla="*/ 971843 h 1590675"/>
              <a:gd name="connsiteX1454" fmla="*/ 1240917 w 1933575"/>
              <a:gd name="connsiteY1454" fmla="*/ 655708 h 1590675"/>
              <a:gd name="connsiteX1455" fmla="*/ 1264634 w 1933575"/>
              <a:gd name="connsiteY1455" fmla="*/ 678568 h 1590675"/>
              <a:gd name="connsiteX1456" fmla="*/ 1241393 w 1933575"/>
              <a:gd name="connsiteY1456" fmla="*/ 701904 h 1590675"/>
              <a:gd name="connsiteX1457" fmla="*/ 1218438 w 1933575"/>
              <a:gd name="connsiteY1457" fmla="*/ 679806 h 1590675"/>
              <a:gd name="connsiteX1458" fmla="*/ 1240917 w 1933575"/>
              <a:gd name="connsiteY1458" fmla="*/ 655708 h 1590675"/>
              <a:gd name="connsiteX1459" fmla="*/ 1630585 w 1933575"/>
              <a:gd name="connsiteY1459" fmla="*/ 1215683 h 1590675"/>
              <a:gd name="connsiteX1460" fmla="*/ 1653921 w 1933575"/>
              <a:gd name="connsiteY1460" fmla="*/ 1238924 h 1590675"/>
              <a:gd name="connsiteX1461" fmla="*/ 1630394 w 1933575"/>
              <a:gd name="connsiteY1461" fmla="*/ 1261879 h 1590675"/>
              <a:gd name="connsiteX1462" fmla="*/ 1607820 w 1933575"/>
              <a:gd name="connsiteY1462" fmla="*/ 1239400 h 1590675"/>
              <a:gd name="connsiteX1463" fmla="*/ 1630585 w 1933575"/>
              <a:gd name="connsiteY1463" fmla="*/ 1215683 h 1590675"/>
              <a:gd name="connsiteX1464" fmla="*/ 39243 w 1933575"/>
              <a:gd name="connsiteY1464" fmla="*/ 218892 h 1590675"/>
              <a:gd name="connsiteX1465" fmla="*/ 16288 w 1933575"/>
              <a:gd name="connsiteY1465" fmla="*/ 241085 h 1590675"/>
              <a:gd name="connsiteX1466" fmla="*/ 95 w 1933575"/>
              <a:gd name="connsiteY1466" fmla="*/ 234131 h 1590675"/>
              <a:gd name="connsiteX1467" fmla="*/ 95 w 1933575"/>
              <a:gd name="connsiteY1467" fmla="*/ 202604 h 1590675"/>
              <a:gd name="connsiteX1468" fmla="*/ 17336 w 1933575"/>
              <a:gd name="connsiteY1468" fmla="*/ 195651 h 1590675"/>
              <a:gd name="connsiteX1469" fmla="*/ 39243 w 1933575"/>
              <a:gd name="connsiteY1469" fmla="*/ 218892 h 1590675"/>
              <a:gd name="connsiteX1470" fmla="*/ 1471517 w 1933575"/>
              <a:gd name="connsiteY1470" fmla="*/ 880974 h 1590675"/>
              <a:gd name="connsiteX1471" fmla="*/ 1448657 w 1933575"/>
              <a:gd name="connsiteY1471" fmla="*/ 903168 h 1590675"/>
              <a:gd name="connsiteX1472" fmla="*/ 1426464 w 1933575"/>
              <a:gd name="connsiteY1472" fmla="*/ 880308 h 1590675"/>
              <a:gd name="connsiteX1473" fmla="*/ 1449324 w 1933575"/>
              <a:gd name="connsiteY1473" fmla="*/ 858114 h 1590675"/>
              <a:gd name="connsiteX1474" fmla="*/ 1471517 w 1933575"/>
              <a:gd name="connsiteY1474" fmla="*/ 880974 h 1590675"/>
              <a:gd name="connsiteX1475" fmla="*/ 749999 w 1933575"/>
              <a:gd name="connsiteY1475" fmla="*/ 343955 h 1590675"/>
              <a:gd name="connsiteX1476" fmla="*/ 726186 w 1933575"/>
              <a:gd name="connsiteY1476" fmla="*/ 366434 h 1590675"/>
              <a:gd name="connsiteX1477" fmla="*/ 704088 w 1933575"/>
              <a:gd name="connsiteY1477" fmla="*/ 342240 h 1590675"/>
              <a:gd name="connsiteX1478" fmla="*/ 727234 w 1933575"/>
              <a:gd name="connsiteY1478" fmla="*/ 320523 h 1590675"/>
              <a:gd name="connsiteX1479" fmla="*/ 749999 w 1933575"/>
              <a:gd name="connsiteY1479" fmla="*/ 343955 h 1590675"/>
              <a:gd name="connsiteX1480" fmla="*/ 1696593 w 1933575"/>
              <a:gd name="connsiteY1480" fmla="*/ 1354938 h 1590675"/>
              <a:gd name="connsiteX1481" fmla="*/ 1673828 w 1933575"/>
              <a:gd name="connsiteY1481" fmla="*/ 1332459 h 1590675"/>
              <a:gd name="connsiteX1482" fmla="*/ 1696593 w 1933575"/>
              <a:gd name="connsiteY1482" fmla="*/ 1310076 h 1590675"/>
              <a:gd name="connsiteX1483" fmla="*/ 1718691 w 1933575"/>
              <a:gd name="connsiteY1483" fmla="*/ 1331793 h 1590675"/>
              <a:gd name="connsiteX1484" fmla="*/ 1696593 w 1933575"/>
              <a:gd name="connsiteY1484" fmla="*/ 1354938 h 1590675"/>
              <a:gd name="connsiteX1485" fmla="*/ 1383316 w 1933575"/>
              <a:gd name="connsiteY1485" fmla="*/ 764579 h 1590675"/>
              <a:gd name="connsiteX1486" fmla="*/ 1405795 w 1933575"/>
              <a:gd name="connsiteY1486" fmla="*/ 787344 h 1590675"/>
              <a:gd name="connsiteX1487" fmla="*/ 1383792 w 1933575"/>
              <a:gd name="connsiteY1487" fmla="*/ 809156 h 1590675"/>
              <a:gd name="connsiteX1488" fmla="*/ 1361313 w 1933575"/>
              <a:gd name="connsiteY1488" fmla="*/ 786391 h 1590675"/>
              <a:gd name="connsiteX1489" fmla="*/ 1383316 w 1933575"/>
              <a:gd name="connsiteY1489" fmla="*/ 764579 h 1590675"/>
              <a:gd name="connsiteX1490" fmla="*/ 807053 w 1933575"/>
              <a:gd name="connsiteY1490" fmla="*/ 335192 h 1590675"/>
              <a:gd name="connsiteX1491" fmla="*/ 829056 w 1933575"/>
              <a:gd name="connsiteY1491" fmla="*/ 358433 h 1590675"/>
              <a:gd name="connsiteX1492" fmla="*/ 805529 w 1933575"/>
              <a:gd name="connsiteY1492" fmla="*/ 380054 h 1590675"/>
              <a:gd name="connsiteX1493" fmla="*/ 784193 w 1933575"/>
              <a:gd name="connsiteY1493" fmla="*/ 357576 h 1590675"/>
              <a:gd name="connsiteX1494" fmla="*/ 807053 w 1933575"/>
              <a:gd name="connsiteY1494" fmla="*/ 335192 h 1590675"/>
              <a:gd name="connsiteX1495" fmla="*/ 1053465 w 1933575"/>
              <a:gd name="connsiteY1495" fmla="*/ 479496 h 1590675"/>
              <a:gd name="connsiteX1496" fmla="*/ 1030891 w 1933575"/>
              <a:gd name="connsiteY1496" fmla="*/ 502165 h 1590675"/>
              <a:gd name="connsiteX1497" fmla="*/ 1008888 w 1933575"/>
              <a:gd name="connsiteY1497" fmla="*/ 480258 h 1590675"/>
              <a:gd name="connsiteX1498" fmla="*/ 1031462 w 1933575"/>
              <a:gd name="connsiteY1498" fmla="*/ 457588 h 1590675"/>
              <a:gd name="connsiteX1499" fmla="*/ 1053465 w 1933575"/>
              <a:gd name="connsiteY1499" fmla="*/ 479496 h 1590675"/>
              <a:gd name="connsiteX1500" fmla="*/ 1602010 w 1933575"/>
              <a:gd name="connsiteY1500" fmla="*/ 1064997 h 1590675"/>
              <a:gd name="connsiteX1501" fmla="*/ 1580769 w 1933575"/>
              <a:gd name="connsiteY1501" fmla="*/ 1087667 h 1590675"/>
              <a:gd name="connsiteX1502" fmla="*/ 1557433 w 1933575"/>
              <a:gd name="connsiteY1502" fmla="*/ 1065759 h 1590675"/>
              <a:gd name="connsiteX1503" fmla="*/ 1580007 w 1933575"/>
              <a:gd name="connsiteY1503" fmla="*/ 1043090 h 1590675"/>
              <a:gd name="connsiteX1504" fmla="*/ 1602010 w 1933575"/>
              <a:gd name="connsiteY1504" fmla="*/ 1064997 h 1590675"/>
              <a:gd name="connsiteX1505" fmla="*/ 1198340 w 1933575"/>
              <a:gd name="connsiteY1505" fmla="*/ 584747 h 1590675"/>
              <a:gd name="connsiteX1506" fmla="*/ 1175671 w 1933575"/>
              <a:gd name="connsiteY1506" fmla="*/ 607321 h 1590675"/>
              <a:gd name="connsiteX1507" fmla="*/ 1153859 w 1933575"/>
              <a:gd name="connsiteY1507" fmla="*/ 585318 h 1590675"/>
              <a:gd name="connsiteX1508" fmla="*/ 1176528 w 1933575"/>
              <a:gd name="connsiteY1508" fmla="*/ 562744 h 1590675"/>
              <a:gd name="connsiteX1509" fmla="*/ 1198340 w 1933575"/>
              <a:gd name="connsiteY1509" fmla="*/ 584747 h 1590675"/>
              <a:gd name="connsiteX1510" fmla="*/ 1747838 w 1933575"/>
              <a:gd name="connsiteY1510" fmla="*/ 1480668 h 1590675"/>
              <a:gd name="connsiteX1511" fmla="*/ 1769840 w 1933575"/>
              <a:gd name="connsiteY1511" fmla="*/ 1503909 h 1590675"/>
              <a:gd name="connsiteX1512" fmla="*/ 1746314 w 1933575"/>
              <a:gd name="connsiteY1512" fmla="*/ 1525531 h 1590675"/>
              <a:gd name="connsiteX1513" fmla="*/ 1724978 w 1933575"/>
              <a:gd name="connsiteY1513" fmla="*/ 1503052 h 1590675"/>
              <a:gd name="connsiteX1514" fmla="*/ 1747838 w 1933575"/>
              <a:gd name="connsiteY1514" fmla="*/ 1480668 h 1590675"/>
              <a:gd name="connsiteX1515" fmla="*/ 1666399 w 1933575"/>
              <a:gd name="connsiteY1515" fmla="*/ 1160247 h 1590675"/>
              <a:gd name="connsiteX1516" fmla="*/ 1643729 w 1933575"/>
              <a:gd name="connsiteY1516" fmla="*/ 1180440 h 1590675"/>
              <a:gd name="connsiteX1517" fmla="*/ 1623917 w 1933575"/>
              <a:gd name="connsiteY1517" fmla="*/ 1157485 h 1590675"/>
              <a:gd name="connsiteX1518" fmla="*/ 1645825 w 1933575"/>
              <a:gd name="connsiteY1518" fmla="*/ 1137959 h 1590675"/>
              <a:gd name="connsiteX1519" fmla="*/ 1666399 w 1933575"/>
              <a:gd name="connsiteY1519" fmla="*/ 1160247 h 1590675"/>
              <a:gd name="connsiteX1520" fmla="*/ 1342358 w 1933575"/>
              <a:gd name="connsiteY1520" fmla="*/ 693332 h 1590675"/>
              <a:gd name="connsiteX1521" fmla="*/ 1320356 w 1933575"/>
              <a:gd name="connsiteY1521" fmla="*/ 714287 h 1590675"/>
              <a:gd name="connsiteX1522" fmla="*/ 1299686 w 1933575"/>
              <a:gd name="connsiteY1522" fmla="*/ 691998 h 1590675"/>
              <a:gd name="connsiteX1523" fmla="*/ 1320927 w 1933575"/>
              <a:gd name="connsiteY1523" fmla="*/ 671710 h 1590675"/>
              <a:gd name="connsiteX1524" fmla="*/ 1342358 w 1933575"/>
              <a:gd name="connsiteY1524" fmla="*/ 693332 h 1590675"/>
              <a:gd name="connsiteX1525" fmla="*/ 367094 w 1933575"/>
              <a:gd name="connsiteY1525" fmla="*/ 195460 h 1590675"/>
              <a:gd name="connsiteX1526" fmla="*/ 346996 w 1933575"/>
              <a:gd name="connsiteY1526" fmla="*/ 216510 h 1590675"/>
              <a:gd name="connsiteX1527" fmla="*/ 325184 w 1933575"/>
              <a:gd name="connsiteY1527" fmla="*/ 195651 h 1590675"/>
              <a:gd name="connsiteX1528" fmla="*/ 346710 w 1933575"/>
              <a:gd name="connsiteY1528" fmla="*/ 174600 h 1590675"/>
              <a:gd name="connsiteX1529" fmla="*/ 367094 w 1933575"/>
              <a:gd name="connsiteY1529" fmla="*/ 195460 h 1590675"/>
              <a:gd name="connsiteX1530" fmla="*/ 446723 w 1933575"/>
              <a:gd name="connsiteY1530" fmla="*/ 210510 h 1590675"/>
              <a:gd name="connsiteX1531" fmla="*/ 424339 w 1933575"/>
              <a:gd name="connsiteY1531" fmla="*/ 230703 h 1590675"/>
              <a:gd name="connsiteX1532" fmla="*/ 404813 w 1933575"/>
              <a:gd name="connsiteY1532" fmla="*/ 209081 h 1590675"/>
              <a:gd name="connsiteX1533" fmla="*/ 427196 w 1933575"/>
              <a:gd name="connsiteY1533" fmla="*/ 188888 h 1590675"/>
              <a:gd name="connsiteX1534" fmla="*/ 446723 w 1933575"/>
              <a:gd name="connsiteY1534" fmla="*/ 210510 h 1590675"/>
              <a:gd name="connsiteX1535" fmla="*/ 526066 w 1933575"/>
              <a:gd name="connsiteY1535" fmla="*/ 223845 h 1590675"/>
              <a:gd name="connsiteX1536" fmla="*/ 505873 w 1933575"/>
              <a:gd name="connsiteY1536" fmla="*/ 244704 h 1590675"/>
              <a:gd name="connsiteX1537" fmla="*/ 484632 w 1933575"/>
              <a:gd name="connsiteY1537" fmla="*/ 223463 h 1590675"/>
              <a:gd name="connsiteX1538" fmla="*/ 505492 w 1933575"/>
              <a:gd name="connsiteY1538" fmla="*/ 203270 h 1590675"/>
              <a:gd name="connsiteX1539" fmla="*/ 526066 w 1933575"/>
              <a:gd name="connsiteY1539" fmla="*/ 223845 h 1590675"/>
              <a:gd name="connsiteX1540" fmla="*/ 266033 w 1933575"/>
              <a:gd name="connsiteY1540" fmla="*/ 160694 h 1590675"/>
              <a:gd name="connsiteX1541" fmla="*/ 287274 w 1933575"/>
              <a:gd name="connsiteY1541" fmla="*/ 180506 h 1590675"/>
              <a:gd name="connsiteX1542" fmla="*/ 266414 w 1933575"/>
              <a:gd name="connsiteY1542" fmla="*/ 202128 h 1590675"/>
              <a:gd name="connsiteX1543" fmla="*/ 245840 w 1933575"/>
              <a:gd name="connsiteY1543" fmla="*/ 181649 h 1590675"/>
              <a:gd name="connsiteX1544" fmla="*/ 266033 w 1933575"/>
              <a:gd name="connsiteY1544" fmla="*/ 160694 h 1590675"/>
              <a:gd name="connsiteX1545" fmla="*/ 886206 w 1933575"/>
              <a:gd name="connsiteY1545" fmla="*/ 350908 h 1590675"/>
              <a:gd name="connsiteX1546" fmla="*/ 907161 w 1933575"/>
              <a:gd name="connsiteY1546" fmla="*/ 372530 h 1590675"/>
              <a:gd name="connsiteX1547" fmla="*/ 886206 w 1933575"/>
              <a:gd name="connsiteY1547" fmla="*/ 392818 h 1590675"/>
              <a:gd name="connsiteX1548" fmla="*/ 865251 w 1933575"/>
              <a:gd name="connsiteY1548" fmla="*/ 371196 h 1590675"/>
              <a:gd name="connsiteX1549" fmla="*/ 886206 w 1933575"/>
              <a:gd name="connsiteY1549" fmla="*/ 350908 h 1590675"/>
              <a:gd name="connsiteX1550" fmla="*/ 1110139 w 1933575"/>
              <a:gd name="connsiteY1550" fmla="*/ 473780 h 1590675"/>
              <a:gd name="connsiteX1551" fmla="*/ 1131094 w 1933575"/>
              <a:gd name="connsiteY1551" fmla="*/ 493878 h 1590675"/>
              <a:gd name="connsiteX1552" fmla="*/ 1110710 w 1933575"/>
              <a:gd name="connsiteY1552" fmla="*/ 514452 h 1590675"/>
              <a:gd name="connsiteX1553" fmla="*/ 1090517 w 1933575"/>
              <a:gd name="connsiteY1553" fmla="*/ 495117 h 1590675"/>
              <a:gd name="connsiteX1554" fmla="*/ 1110139 w 1933575"/>
              <a:gd name="connsiteY1554" fmla="*/ 473780 h 1590675"/>
              <a:gd name="connsiteX1555" fmla="*/ 186404 w 1933575"/>
              <a:gd name="connsiteY1555" fmla="*/ 146883 h 1590675"/>
              <a:gd name="connsiteX1556" fmla="*/ 207359 w 1933575"/>
              <a:gd name="connsiteY1556" fmla="*/ 166980 h 1590675"/>
              <a:gd name="connsiteX1557" fmla="*/ 186976 w 1933575"/>
              <a:gd name="connsiteY1557" fmla="*/ 187554 h 1590675"/>
              <a:gd name="connsiteX1558" fmla="*/ 166783 w 1933575"/>
              <a:gd name="connsiteY1558" fmla="*/ 168219 h 1590675"/>
              <a:gd name="connsiteX1559" fmla="*/ 186404 w 1933575"/>
              <a:gd name="connsiteY1559" fmla="*/ 146883 h 1590675"/>
              <a:gd name="connsiteX1560" fmla="*/ 564642 w 1933575"/>
              <a:gd name="connsiteY1560" fmla="*/ 237084 h 1590675"/>
              <a:gd name="connsiteX1561" fmla="*/ 586454 w 1933575"/>
              <a:gd name="connsiteY1561" fmla="*/ 217939 h 1590675"/>
              <a:gd name="connsiteX1562" fmla="*/ 605314 w 1933575"/>
              <a:gd name="connsiteY1562" fmla="*/ 238704 h 1590675"/>
              <a:gd name="connsiteX1563" fmla="*/ 584168 w 1933575"/>
              <a:gd name="connsiteY1563" fmla="*/ 258611 h 1590675"/>
              <a:gd name="connsiteX1564" fmla="*/ 564642 w 1933575"/>
              <a:gd name="connsiteY1564" fmla="*/ 237084 h 1590675"/>
              <a:gd name="connsiteX1565" fmla="*/ 1275683 w 1933575"/>
              <a:gd name="connsiteY1565" fmla="*/ 599511 h 1590675"/>
              <a:gd name="connsiteX1566" fmla="*/ 1254633 w 1933575"/>
              <a:gd name="connsiteY1566" fmla="*/ 619227 h 1590675"/>
              <a:gd name="connsiteX1567" fmla="*/ 1235678 w 1933575"/>
              <a:gd name="connsiteY1567" fmla="*/ 598844 h 1590675"/>
              <a:gd name="connsiteX1568" fmla="*/ 1256728 w 1933575"/>
              <a:gd name="connsiteY1568" fmla="*/ 579127 h 1590675"/>
              <a:gd name="connsiteX1569" fmla="*/ 1275683 w 1933575"/>
              <a:gd name="connsiteY1569" fmla="*/ 599511 h 1590675"/>
              <a:gd name="connsiteX1570" fmla="*/ 1730597 w 1933575"/>
              <a:gd name="connsiteY1570" fmla="*/ 1252735 h 1590675"/>
              <a:gd name="connsiteX1571" fmla="*/ 1711357 w 1933575"/>
              <a:gd name="connsiteY1571" fmla="*/ 1273119 h 1590675"/>
              <a:gd name="connsiteX1572" fmla="*/ 1690211 w 1933575"/>
              <a:gd name="connsiteY1572" fmla="*/ 1253211 h 1590675"/>
              <a:gd name="connsiteX1573" fmla="*/ 1710881 w 1933575"/>
              <a:gd name="connsiteY1573" fmla="*/ 1232828 h 1590675"/>
              <a:gd name="connsiteX1574" fmla="*/ 1730597 w 1933575"/>
              <a:gd name="connsiteY1574" fmla="*/ 1252735 h 1590675"/>
              <a:gd name="connsiteX1575" fmla="*/ 1762220 w 1933575"/>
              <a:gd name="connsiteY1575" fmla="*/ 1443806 h 1590675"/>
              <a:gd name="connsiteX1576" fmla="*/ 1741265 w 1933575"/>
              <a:gd name="connsiteY1576" fmla="*/ 1423709 h 1590675"/>
              <a:gd name="connsiteX1577" fmla="*/ 1761649 w 1933575"/>
              <a:gd name="connsiteY1577" fmla="*/ 1403135 h 1590675"/>
              <a:gd name="connsiteX1578" fmla="*/ 1781842 w 1933575"/>
              <a:gd name="connsiteY1578" fmla="*/ 1422471 h 1590675"/>
              <a:gd name="connsiteX1579" fmla="*/ 1762220 w 1933575"/>
              <a:gd name="connsiteY1579" fmla="*/ 1443806 h 1590675"/>
              <a:gd name="connsiteX1580" fmla="*/ 985742 w 1933575"/>
              <a:gd name="connsiteY1580" fmla="*/ 386151 h 1590675"/>
              <a:gd name="connsiteX1581" fmla="*/ 966121 w 1933575"/>
              <a:gd name="connsiteY1581" fmla="*/ 405962 h 1590675"/>
              <a:gd name="connsiteX1582" fmla="*/ 945928 w 1933575"/>
              <a:gd name="connsiteY1582" fmla="*/ 385293 h 1590675"/>
              <a:gd name="connsiteX1583" fmla="*/ 966311 w 1933575"/>
              <a:gd name="connsiteY1583" fmla="*/ 366148 h 1590675"/>
              <a:gd name="connsiteX1584" fmla="*/ 985742 w 1933575"/>
              <a:gd name="connsiteY1584" fmla="*/ 386151 h 1590675"/>
              <a:gd name="connsiteX1585" fmla="*/ 665131 w 1933575"/>
              <a:gd name="connsiteY1585" fmla="*/ 229750 h 1590675"/>
              <a:gd name="connsiteX1586" fmla="*/ 684467 w 1933575"/>
              <a:gd name="connsiteY1586" fmla="*/ 249943 h 1590675"/>
              <a:gd name="connsiteX1587" fmla="*/ 663226 w 1933575"/>
              <a:gd name="connsiteY1587" fmla="*/ 269660 h 1590675"/>
              <a:gd name="connsiteX1588" fmla="*/ 644557 w 1933575"/>
              <a:gd name="connsiteY1588" fmla="*/ 248800 h 1590675"/>
              <a:gd name="connsiteX1589" fmla="*/ 665131 w 1933575"/>
              <a:gd name="connsiteY1589" fmla="*/ 229750 h 1590675"/>
              <a:gd name="connsiteX1590" fmla="*/ 1793939 w 1933575"/>
              <a:gd name="connsiteY1590" fmla="*/ 1590587 h 1590675"/>
              <a:gd name="connsiteX1591" fmla="*/ 1813274 w 1933575"/>
              <a:gd name="connsiteY1591" fmla="*/ 1576966 h 1590675"/>
              <a:gd name="connsiteX1592" fmla="*/ 1831562 w 1933575"/>
              <a:gd name="connsiteY1592" fmla="*/ 1590587 h 1590675"/>
              <a:gd name="connsiteX1593" fmla="*/ 1793939 w 1933575"/>
              <a:gd name="connsiteY1593" fmla="*/ 1590587 h 1590675"/>
              <a:gd name="connsiteX1594" fmla="*/ 1548384 w 1933575"/>
              <a:gd name="connsiteY1594" fmla="*/ 895262 h 1590675"/>
              <a:gd name="connsiteX1595" fmla="*/ 1528096 w 1933575"/>
              <a:gd name="connsiteY1595" fmla="*/ 914597 h 1590675"/>
              <a:gd name="connsiteX1596" fmla="*/ 1508760 w 1933575"/>
              <a:gd name="connsiteY1596" fmla="*/ 894309 h 1590675"/>
              <a:gd name="connsiteX1597" fmla="*/ 1529048 w 1933575"/>
              <a:gd name="connsiteY1597" fmla="*/ 874973 h 1590675"/>
              <a:gd name="connsiteX1598" fmla="*/ 1548384 w 1933575"/>
              <a:gd name="connsiteY1598" fmla="*/ 895262 h 1590675"/>
              <a:gd name="connsiteX1599" fmla="*/ 130207 w 1933575"/>
              <a:gd name="connsiteY1599" fmla="*/ 153455 h 1590675"/>
              <a:gd name="connsiteX1600" fmla="*/ 110204 w 1933575"/>
              <a:gd name="connsiteY1600" fmla="*/ 172981 h 1590675"/>
              <a:gd name="connsiteX1601" fmla="*/ 90392 w 1933575"/>
              <a:gd name="connsiteY1601" fmla="*/ 151931 h 1590675"/>
              <a:gd name="connsiteX1602" fmla="*/ 111062 w 1933575"/>
              <a:gd name="connsiteY1602" fmla="*/ 133167 h 1590675"/>
              <a:gd name="connsiteX1603" fmla="*/ 130207 w 1933575"/>
              <a:gd name="connsiteY1603" fmla="*/ 153455 h 1590675"/>
              <a:gd name="connsiteX1604" fmla="*/ 1416939 w 1933575"/>
              <a:gd name="connsiteY1604" fmla="*/ 706953 h 1590675"/>
              <a:gd name="connsiteX1605" fmla="*/ 1398175 w 1933575"/>
              <a:gd name="connsiteY1605" fmla="*/ 726384 h 1590675"/>
              <a:gd name="connsiteX1606" fmla="*/ 1378744 w 1933575"/>
              <a:gd name="connsiteY1606" fmla="*/ 707619 h 1590675"/>
              <a:gd name="connsiteX1607" fmla="*/ 1397508 w 1933575"/>
              <a:gd name="connsiteY1607" fmla="*/ 688188 h 1590675"/>
              <a:gd name="connsiteX1608" fmla="*/ 1416939 w 1933575"/>
              <a:gd name="connsiteY1608" fmla="*/ 706953 h 1590675"/>
              <a:gd name="connsiteX1609" fmla="*/ 1482852 w 1933575"/>
              <a:gd name="connsiteY1609" fmla="*/ 800393 h 1590675"/>
              <a:gd name="connsiteX1610" fmla="*/ 1463421 w 1933575"/>
              <a:gd name="connsiteY1610" fmla="*/ 820681 h 1590675"/>
              <a:gd name="connsiteX1611" fmla="*/ 1443609 w 1933575"/>
              <a:gd name="connsiteY1611" fmla="*/ 800869 h 1590675"/>
              <a:gd name="connsiteX1612" fmla="*/ 1462183 w 1933575"/>
              <a:gd name="connsiteY1612" fmla="*/ 781438 h 1590675"/>
              <a:gd name="connsiteX1613" fmla="*/ 1482852 w 1933575"/>
              <a:gd name="connsiteY1613" fmla="*/ 800393 h 1590675"/>
              <a:gd name="connsiteX1614" fmla="*/ 1593532 w 1933575"/>
              <a:gd name="connsiteY1614" fmla="*/ 1005466 h 1590675"/>
              <a:gd name="connsiteX1615" fmla="*/ 1574197 w 1933575"/>
              <a:gd name="connsiteY1615" fmla="*/ 985083 h 1590675"/>
              <a:gd name="connsiteX1616" fmla="*/ 1594866 w 1933575"/>
              <a:gd name="connsiteY1616" fmla="*/ 966223 h 1590675"/>
              <a:gd name="connsiteX1617" fmla="*/ 1613440 w 1933575"/>
              <a:gd name="connsiteY1617" fmla="*/ 985749 h 1590675"/>
              <a:gd name="connsiteX1618" fmla="*/ 1593532 w 1933575"/>
              <a:gd name="connsiteY1618" fmla="*/ 1005466 h 1590675"/>
              <a:gd name="connsiteX1619" fmla="*/ 50006 w 1933575"/>
              <a:gd name="connsiteY1619" fmla="*/ 138786 h 1590675"/>
              <a:gd name="connsiteX1620" fmla="*/ 31052 w 1933575"/>
              <a:gd name="connsiteY1620" fmla="*/ 158122 h 1590675"/>
              <a:gd name="connsiteX1621" fmla="*/ 11335 w 1933575"/>
              <a:gd name="connsiteY1621" fmla="*/ 138120 h 1590675"/>
              <a:gd name="connsiteX1622" fmla="*/ 31052 w 1933575"/>
              <a:gd name="connsiteY1622" fmla="*/ 119451 h 1590675"/>
              <a:gd name="connsiteX1623" fmla="*/ 50006 w 1933575"/>
              <a:gd name="connsiteY1623" fmla="*/ 138786 h 1590675"/>
              <a:gd name="connsiteX1624" fmla="*/ 760762 w 1933575"/>
              <a:gd name="connsiteY1624" fmla="*/ 263278 h 1590675"/>
              <a:gd name="connsiteX1625" fmla="*/ 741045 w 1933575"/>
              <a:gd name="connsiteY1625" fmla="*/ 283376 h 1590675"/>
              <a:gd name="connsiteX1626" fmla="*/ 721614 w 1933575"/>
              <a:gd name="connsiteY1626" fmla="*/ 264421 h 1590675"/>
              <a:gd name="connsiteX1627" fmla="*/ 741331 w 1933575"/>
              <a:gd name="connsiteY1627" fmla="*/ 244323 h 1590675"/>
              <a:gd name="connsiteX1628" fmla="*/ 760762 w 1933575"/>
              <a:gd name="connsiteY1628" fmla="*/ 263278 h 1590675"/>
              <a:gd name="connsiteX1629" fmla="*/ 1678400 w 1933575"/>
              <a:gd name="connsiteY1629" fmla="*/ 1079952 h 1590675"/>
              <a:gd name="connsiteX1630" fmla="*/ 1658969 w 1933575"/>
              <a:gd name="connsiteY1630" fmla="*/ 1098716 h 1590675"/>
              <a:gd name="connsiteX1631" fmla="*/ 1640205 w 1933575"/>
              <a:gd name="connsiteY1631" fmla="*/ 1079285 h 1590675"/>
              <a:gd name="connsiteX1632" fmla="*/ 1659636 w 1933575"/>
              <a:gd name="connsiteY1632" fmla="*/ 1060521 h 1590675"/>
              <a:gd name="connsiteX1633" fmla="*/ 1678400 w 1933575"/>
              <a:gd name="connsiteY1633" fmla="*/ 1079952 h 1590675"/>
              <a:gd name="connsiteX1634" fmla="*/ 1827371 w 1933575"/>
              <a:gd name="connsiteY1634" fmla="*/ 1498766 h 1590675"/>
              <a:gd name="connsiteX1635" fmla="*/ 1845278 w 1933575"/>
              <a:gd name="connsiteY1635" fmla="*/ 1518959 h 1590675"/>
              <a:gd name="connsiteX1636" fmla="*/ 1825943 w 1933575"/>
              <a:gd name="connsiteY1636" fmla="*/ 1535532 h 1590675"/>
              <a:gd name="connsiteX1637" fmla="*/ 1808702 w 1933575"/>
              <a:gd name="connsiteY1637" fmla="*/ 1515435 h 1590675"/>
              <a:gd name="connsiteX1638" fmla="*/ 1827371 w 1933575"/>
              <a:gd name="connsiteY1638" fmla="*/ 1498766 h 1590675"/>
              <a:gd name="connsiteX1639" fmla="*/ 1775270 w 1933575"/>
              <a:gd name="connsiteY1639" fmla="*/ 1365606 h 1590675"/>
              <a:gd name="connsiteX1640" fmla="*/ 1756982 w 1933575"/>
              <a:gd name="connsiteY1640" fmla="*/ 1345889 h 1590675"/>
              <a:gd name="connsiteX1641" fmla="*/ 1776984 w 1933575"/>
              <a:gd name="connsiteY1641" fmla="*/ 1328078 h 1590675"/>
              <a:gd name="connsiteX1642" fmla="*/ 1794510 w 1933575"/>
              <a:gd name="connsiteY1642" fmla="*/ 1346937 h 1590675"/>
              <a:gd name="connsiteX1643" fmla="*/ 1775270 w 1933575"/>
              <a:gd name="connsiteY1643" fmla="*/ 1365606 h 1590675"/>
              <a:gd name="connsiteX1644" fmla="*/ 1189673 w 1933575"/>
              <a:gd name="connsiteY1644" fmla="*/ 489402 h 1590675"/>
              <a:gd name="connsiteX1645" fmla="*/ 1209199 w 1933575"/>
              <a:gd name="connsiteY1645" fmla="*/ 507880 h 1590675"/>
              <a:gd name="connsiteX1646" fmla="*/ 1190339 w 1933575"/>
              <a:gd name="connsiteY1646" fmla="*/ 526930 h 1590675"/>
              <a:gd name="connsiteX1647" fmla="*/ 1171670 w 1933575"/>
              <a:gd name="connsiteY1647" fmla="*/ 509213 h 1590675"/>
              <a:gd name="connsiteX1648" fmla="*/ 1189673 w 1933575"/>
              <a:gd name="connsiteY1648" fmla="*/ 489402 h 1590675"/>
              <a:gd name="connsiteX1649" fmla="*/ 1044797 w 1933575"/>
              <a:gd name="connsiteY1649" fmla="*/ 381769 h 1590675"/>
              <a:gd name="connsiteX1650" fmla="*/ 1063752 w 1933575"/>
              <a:gd name="connsiteY1650" fmla="*/ 401010 h 1590675"/>
              <a:gd name="connsiteX1651" fmla="*/ 1045274 w 1933575"/>
              <a:gd name="connsiteY1651" fmla="*/ 418631 h 1590675"/>
              <a:gd name="connsiteX1652" fmla="*/ 1026986 w 1933575"/>
              <a:gd name="connsiteY1652" fmla="*/ 399486 h 1590675"/>
              <a:gd name="connsiteX1653" fmla="*/ 1044797 w 1933575"/>
              <a:gd name="connsiteY1653" fmla="*/ 381769 h 1590675"/>
              <a:gd name="connsiteX1654" fmla="*/ 838962 w 1933575"/>
              <a:gd name="connsiteY1654" fmla="*/ 277851 h 1590675"/>
              <a:gd name="connsiteX1655" fmla="*/ 821436 w 1933575"/>
              <a:gd name="connsiteY1655" fmla="*/ 296139 h 1590675"/>
              <a:gd name="connsiteX1656" fmla="*/ 802767 w 1933575"/>
              <a:gd name="connsiteY1656" fmla="*/ 277756 h 1590675"/>
              <a:gd name="connsiteX1657" fmla="*/ 820769 w 1933575"/>
              <a:gd name="connsiteY1657" fmla="*/ 260230 h 1590675"/>
              <a:gd name="connsiteX1658" fmla="*/ 838962 w 1933575"/>
              <a:gd name="connsiteY1658" fmla="*/ 277851 h 1590675"/>
              <a:gd name="connsiteX1659" fmla="*/ 899636 w 1933575"/>
              <a:gd name="connsiteY1659" fmla="*/ 274994 h 1590675"/>
              <a:gd name="connsiteX1660" fmla="*/ 917353 w 1933575"/>
              <a:gd name="connsiteY1660" fmla="*/ 291567 h 1590675"/>
              <a:gd name="connsiteX1661" fmla="*/ 901065 w 1933575"/>
              <a:gd name="connsiteY1661" fmla="*/ 309093 h 1590675"/>
              <a:gd name="connsiteX1662" fmla="*/ 883444 w 1933575"/>
              <a:gd name="connsiteY1662" fmla="*/ 292901 h 1590675"/>
              <a:gd name="connsiteX1663" fmla="*/ 899636 w 1933575"/>
              <a:gd name="connsiteY1663" fmla="*/ 274994 h 1590675"/>
              <a:gd name="connsiteX1664" fmla="*/ 1706975 w 1933575"/>
              <a:gd name="connsiteY1664" fmla="*/ 1173582 h 1590675"/>
              <a:gd name="connsiteX1665" fmla="*/ 1726121 w 1933575"/>
              <a:gd name="connsiteY1665" fmla="*/ 1155961 h 1590675"/>
              <a:gd name="connsiteX1666" fmla="*/ 1741932 w 1933575"/>
              <a:gd name="connsiteY1666" fmla="*/ 1175297 h 1590675"/>
              <a:gd name="connsiteX1667" fmla="*/ 1723835 w 1933575"/>
              <a:gd name="connsiteY1667" fmla="*/ 1190918 h 1590675"/>
              <a:gd name="connsiteX1668" fmla="*/ 1706975 w 1933575"/>
              <a:gd name="connsiteY1668" fmla="*/ 1173582 h 1590675"/>
              <a:gd name="connsiteX1669" fmla="*/ 1332643 w 1933575"/>
              <a:gd name="connsiteY1669" fmla="*/ 595701 h 1590675"/>
              <a:gd name="connsiteX1670" fmla="*/ 1349788 w 1933575"/>
              <a:gd name="connsiteY1670" fmla="*/ 613988 h 1590675"/>
              <a:gd name="connsiteX1671" fmla="*/ 1331405 w 1933575"/>
              <a:gd name="connsiteY1671" fmla="*/ 630848 h 1590675"/>
              <a:gd name="connsiteX1672" fmla="*/ 1314926 w 1933575"/>
              <a:gd name="connsiteY1672" fmla="*/ 613512 h 1590675"/>
              <a:gd name="connsiteX1673" fmla="*/ 1332643 w 1933575"/>
              <a:gd name="connsiteY1673" fmla="*/ 595701 h 1590675"/>
              <a:gd name="connsiteX1674" fmla="*/ 1808607 w 1933575"/>
              <a:gd name="connsiteY1674" fmla="*/ 1270833 h 1590675"/>
              <a:gd name="connsiteX1675" fmla="*/ 1789557 w 1933575"/>
              <a:gd name="connsiteY1675" fmla="*/ 1282834 h 1590675"/>
              <a:gd name="connsiteX1676" fmla="*/ 1773936 w 1933575"/>
              <a:gd name="connsiteY1676" fmla="*/ 1266832 h 1590675"/>
              <a:gd name="connsiteX1677" fmla="*/ 1790319 w 1933575"/>
              <a:gd name="connsiteY1677" fmla="*/ 1251497 h 1590675"/>
              <a:gd name="connsiteX1678" fmla="*/ 1808798 w 1933575"/>
              <a:gd name="connsiteY1678" fmla="*/ 1264355 h 1590675"/>
              <a:gd name="connsiteX1679" fmla="*/ 1808607 w 1933575"/>
              <a:gd name="connsiteY1679" fmla="*/ 1270833 h 1590675"/>
              <a:gd name="connsiteX1680" fmla="*/ 1860137 w 1933575"/>
              <a:gd name="connsiteY1680" fmla="*/ 1440854 h 1590675"/>
              <a:gd name="connsiteX1681" fmla="*/ 1841468 w 1933575"/>
              <a:gd name="connsiteY1681" fmla="*/ 1453808 h 1590675"/>
              <a:gd name="connsiteX1682" fmla="*/ 1824704 w 1933575"/>
              <a:gd name="connsiteY1682" fmla="*/ 1437044 h 1590675"/>
              <a:gd name="connsiteX1683" fmla="*/ 1841373 w 1933575"/>
              <a:gd name="connsiteY1683" fmla="*/ 1421709 h 1590675"/>
              <a:gd name="connsiteX1684" fmla="*/ 1860137 w 1933575"/>
              <a:gd name="connsiteY1684" fmla="*/ 1434377 h 1590675"/>
              <a:gd name="connsiteX1685" fmla="*/ 1860137 w 1933575"/>
              <a:gd name="connsiteY1685" fmla="*/ 1440854 h 1590675"/>
              <a:gd name="connsiteX1686" fmla="*/ 1143953 w 1933575"/>
              <a:gd name="connsiteY1686" fmla="*/ 417678 h 1590675"/>
              <a:gd name="connsiteX1687" fmla="*/ 1125284 w 1933575"/>
              <a:gd name="connsiteY1687" fmla="*/ 430632 h 1590675"/>
              <a:gd name="connsiteX1688" fmla="*/ 1108520 w 1933575"/>
              <a:gd name="connsiteY1688" fmla="*/ 413868 h 1590675"/>
              <a:gd name="connsiteX1689" fmla="*/ 1125188 w 1933575"/>
              <a:gd name="connsiteY1689" fmla="*/ 398533 h 1590675"/>
              <a:gd name="connsiteX1690" fmla="*/ 1143953 w 1933575"/>
              <a:gd name="connsiteY1690" fmla="*/ 411201 h 1590675"/>
              <a:gd name="connsiteX1691" fmla="*/ 1143953 w 1933575"/>
              <a:gd name="connsiteY1691" fmla="*/ 417678 h 1590675"/>
              <a:gd name="connsiteX1692" fmla="*/ 299657 w 1933575"/>
              <a:gd name="connsiteY1692" fmla="*/ 105735 h 1590675"/>
              <a:gd name="connsiteX1693" fmla="*/ 280511 w 1933575"/>
              <a:gd name="connsiteY1693" fmla="*/ 117927 h 1590675"/>
              <a:gd name="connsiteX1694" fmla="*/ 264414 w 1933575"/>
              <a:gd name="connsiteY1694" fmla="*/ 100591 h 1590675"/>
              <a:gd name="connsiteX1695" fmla="*/ 281654 w 1933575"/>
              <a:gd name="connsiteY1695" fmla="*/ 85827 h 1590675"/>
              <a:gd name="connsiteX1696" fmla="*/ 299942 w 1933575"/>
              <a:gd name="connsiteY1696" fmla="*/ 99258 h 1590675"/>
              <a:gd name="connsiteX1697" fmla="*/ 299657 w 1933575"/>
              <a:gd name="connsiteY1697" fmla="*/ 105735 h 1590675"/>
              <a:gd name="connsiteX1698" fmla="*/ 1627156 w 1933575"/>
              <a:gd name="connsiteY1698" fmla="*/ 911645 h 1590675"/>
              <a:gd name="connsiteX1699" fmla="*/ 1608773 w 1933575"/>
              <a:gd name="connsiteY1699" fmla="*/ 925075 h 1590675"/>
              <a:gd name="connsiteX1700" fmla="*/ 1591532 w 1933575"/>
              <a:gd name="connsiteY1700" fmla="*/ 908787 h 1590675"/>
              <a:gd name="connsiteX1701" fmla="*/ 1607820 w 1933575"/>
              <a:gd name="connsiteY1701" fmla="*/ 892976 h 1590675"/>
              <a:gd name="connsiteX1702" fmla="*/ 1626965 w 1933575"/>
              <a:gd name="connsiteY1702" fmla="*/ 905168 h 1590675"/>
              <a:gd name="connsiteX1703" fmla="*/ 1627156 w 1933575"/>
              <a:gd name="connsiteY1703" fmla="*/ 911645 h 1590675"/>
              <a:gd name="connsiteX1704" fmla="*/ 457486 w 1933575"/>
              <a:gd name="connsiteY1704" fmla="*/ 125356 h 1590675"/>
              <a:gd name="connsiteX1705" fmla="*/ 439769 w 1933575"/>
              <a:gd name="connsiteY1705" fmla="*/ 146787 h 1590675"/>
              <a:gd name="connsiteX1706" fmla="*/ 423386 w 1933575"/>
              <a:gd name="connsiteY1706" fmla="*/ 130690 h 1590675"/>
              <a:gd name="connsiteX1707" fmla="*/ 440055 w 1933575"/>
              <a:gd name="connsiteY1707" fmla="*/ 114021 h 1590675"/>
              <a:gd name="connsiteX1708" fmla="*/ 457486 w 1933575"/>
              <a:gd name="connsiteY1708" fmla="*/ 125356 h 1590675"/>
              <a:gd name="connsiteX1709" fmla="*/ 1561624 w 1933575"/>
              <a:gd name="connsiteY1709" fmla="*/ 818871 h 1590675"/>
              <a:gd name="connsiteX1710" fmla="*/ 1542574 w 1933575"/>
              <a:gd name="connsiteY1710" fmla="*/ 831349 h 1590675"/>
              <a:gd name="connsiteX1711" fmla="*/ 1526191 w 1933575"/>
              <a:gd name="connsiteY1711" fmla="*/ 814204 h 1590675"/>
              <a:gd name="connsiteX1712" fmla="*/ 1543241 w 1933575"/>
              <a:gd name="connsiteY1712" fmla="*/ 799250 h 1590675"/>
              <a:gd name="connsiteX1713" fmla="*/ 1561719 w 1933575"/>
              <a:gd name="connsiteY1713" fmla="*/ 812394 h 1590675"/>
              <a:gd name="connsiteX1714" fmla="*/ 1561624 w 1933575"/>
              <a:gd name="connsiteY1714" fmla="*/ 818871 h 1590675"/>
              <a:gd name="connsiteX1715" fmla="*/ 1266920 w 1933575"/>
              <a:gd name="connsiteY1715" fmla="*/ 541218 h 1590675"/>
              <a:gd name="connsiteX1716" fmla="*/ 1254157 w 1933575"/>
              <a:gd name="connsiteY1716" fmla="*/ 522644 h 1590675"/>
              <a:gd name="connsiteX1717" fmla="*/ 1269587 w 1933575"/>
              <a:gd name="connsiteY1717" fmla="*/ 506356 h 1590675"/>
              <a:gd name="connsiteX1718" fmla="*/ 1285589 w 1933575"/>
              <a:gd name="connsiteY1718" fmla="*/ 522072 h 1590675"/>
              <a:gd name="connsiteX1719" fmla="*/ 1273493 w 1933575"/>
              <a:gd name="connsiteY1719" fmla="*/ 541122 h 1590675"/>
              <a:gd name="connsiteX1720" fmla="*/ 1266920 w 1933575"/>
              <a:gd name="connsiteY1720" fmla="*/ 541218 h 1590675"/>
              <a:gd name="connsiteX1721" fmla="*/ 538448 w 1933575"/>
              <a:gd name="connsiteY1721" fmla="*/ 147835 h 1590675"/>
              <a:gd name="connsiteX1722" fmla="*/ 519589 w 1933575"/>
              <a:gd name="connsiteY1722" fmla="*/ 160598 h 1590675"/>
              <a:gd name="connsiteX1723" fmla="*/ 503015 w 1933575"/>
              <a:gd name="connsiteY1723" fmla="*/ 143739 h 1590675"/>
              <a:gd name="connsiteX1724" fmla="*/ 519875 w 1933575"/>
              <a:gd name="connsiteY1724" fmla="*/ 128595 h 1590675"/>
              <a:gd name="connsiteX1725" fmla="*/ 538544 w 1933575"/>
              <a:gd name="connsiteY1725" fmla="*/ 141453 h 1590675"/>
              <a:gd name="connsiteX1726" fmla="*/ 538448 w 1933575"/>
              <a:gd name="connsiteY1726" fmla="*/ 147835 h 1590675"/>
              <a:gd name="connsiteX1727" fmla="*/ 355664 w 1933575"/>
              <a:gd name="connsiteY1727" fmla="*/ 98495 h 1590675"/>
              <a:gd name="connsiteX1728" fmla="*/ 377000 w 1933575"/>
              <a:gd name="connsiteY1728" fmla="*/ 116307 h 1590675"/>
              <a:gd name="connsiteX1729" fmla="*/ 360807 w 1933575"/>
              <a:gd name="connsiteY1729" fmla="*/ 132595 h 1590675"/>
              <a:gd name="connsiteX1730" fmla="*/ 344234 w 1933575"/>
              <a:gd name="connsiteY1730" fmla="*/ 115831 h 1590675"/>
              <a:gd name="connsiteX1731" fmla="*/ 355664 w 1933575"/>
              <a:gd name="connsiteY1731" fmla="*/ 98495 h 1590675"/>
              <a:gd name="connsiteX1732" fmla="*/ 1495901 w 1933575"/>
              <a:gd name="connsiteY1732" fmla="*/ 724097 h 1590675"/>
              <a:gd name="connsiteX1733" fmla="*/ 1477613 w 1933575"/>
              <a:gd name="connsiteY1733" fmla="*/ 736861 h 1590675"/>
              <a:gd name="connsiteX1734" fmla="*/ 1462088 w 1933575"/>
              <a:gd name="connsiteY1734" fmla="*/ 721526 h 1590675"/>
              <a:gd name="connsiteX1735" fmla="*/ 1476470 w 1933575"/>
              <a:gd name="connsiteY1735" fmla="*/ 706381 h 1590675"/>
              <a:gd name="connsiteX1736" fmla="*/ 1495616 w 1933575"/>
              <a:gd name="connsiteY1736" fmla="*/ 717335 h 1590675"/>
              <a:gd name="connsiteX1737" fmla="*/ 1495901 w 1933575"/>
              <a:gd name="connsiteY1737" fmla="*/ 724097 h 1590675"/>
              <a:gd name="connsiteX1738" fmla="*/ 595789 w 1933575"/>
              <a:gd name="connsiteY1738" fmla="*/ 177077 h 1590675"/>
              <a:gd name="connsiteX1739" fmla="*/ 583692 w 1933575"/>
              <a:gd name="connsiteY1739" fmla="*/ 158312 h 1590675"/>
              <a:gd name="connsiteX1740" fmla="*/ 599599 w 1933575"/>
              <a:gd name="connsiteY1740" fmla="*/ 143454 h 1590675"/>
              <a:gd name="connsiteX1741" fmla="*/ 614077 w 1933575"/>
              <a:gd name="connsiteY1741" fmla="*/ 158408 h 1590675"/>
              <a:gd name="connsiteX1742" fmla="*/ 602456 w 1933575"/>
              <a:gd name="connsiteY1742" fmla="*/ 177077 h 1590675"/>
              <a:gd name="connsiteX1743" fmla="*/ 595789 w 1933575"/>
              <a:gd name="connsiteY1743" fmla="*/ 177077 h 1590675"/>
              <a:gd name="connsiteX1744" fmla="*/ 219456 w 1933575"/>
              <a:gd name="connsiteY1744" fmla="*/ 91447 h 1590675"/>
              <a:gd name="connsiteX1745" fmla="*/ 200406 w 1933575"/>
              <a:gd name="connsiteY1745" fmla="*/ 103068 h 1590675"/>
              <a:gd name="connsiteX1746" fmla="*/ 185928 w 1933575"/>
              <a:gd name="connsiteY1746" fmla="*/ 86780 h 1590675"/>
              <a:gd name="connsiteX1747" fmla="*/ 201263 w 1933575"/>
              <a:gd name="connsiteY1747" fmla="*/ 72683 h 1590675"/>
              <a:gd name="connsiteX1748" fmla="*/ 219647 w 1933575"/>
              <a:gd name="connsiteY1748" fmla="*/ 84779 h 1590675"/>
              <a:gd name="connsiteX1749" fmla="*/ 219456 w 1933575"/>
              <a:gd name="connsiteY1749" fmla="*/ 91447 h 1590675"/>
              <a:gd name="connsiteX1750" fmla="*/ 1691354 w 1933575"/>
              <a:gd name="connsiteY1750" fmla="*/ 1003752 h 1590675"/>
              <a:gd name="connsiteX1751" fmla="*/ 1672590 w 1933575"/>
              <a:gd name="connsiteY1751" fmla="*/ 1014610 h 1590675"/>
              <a:gd name="connsiteX1752" fmla="*/ 1658588 w 1933575"/>
              <a:gd name="connsiteY1752" fmla="*/ 999561 h 1590675"/>
              <a:gd name="connsiteX1753" fmla="*/ 1674400 w 1933575"/>
              <a:gd name="connsiteY1753" fmla="*/ 984892 h 1590675"/>
              <a:gd name="connsiteX1754" fmla="*/ 1691450 w 1933575"/>
              <a:gd name="connsiteY1754" fmla="*/ 997275 h 1590675"/>
              <a:gd name="connsiteX1755" fmla="*/ 1691354 w 1933575"/>
              <a:gd name="connsiteY1755" fmla="*/ 1003752 h 1590675"/>
              <a:gd name="connsiteX1756" fmla="*/ 984123 w 1933575"/>
              <a:gd name="connsiteY1756" fmla="*/ 289186 h 1590675"/>
              <a:gd name="connsiteX1757" fmla="*/ 994601 w 1933575"/>
              <a:gd name="connsiteY1757" fmla="*/ 307188 h 1590675"/>
              <a:gd name="connsiteX1758" fmla="*/ 979361 w 1933575"/>
              <a:gd name="connsiteY1758" fmla="*/ 321476 h 1590675"/>
              <a:gd name="connsiteX1759" fmla="*/ 965454 w 1933575"/>
              <a:gd name="connsiteY1759" fmla="*/ 305950 h 1590675"/>
              <a:gd name="connsiteX1760" fmla="*/ 977551 w 1933575"/>
              <a:gd name="connsiteY1760" fmla="*/ 288900 h 1590675"/>
              <a:gd name="connsiteX1761" fmla="*/ 984123 w 1933575"/>
              <a:gd name="connsiteY1761" fmla="*/ 289186 h 1590675"/>
              <a:gd name="connsiteX1762" fmla="*/ 1755648 w 1933575"/>
              <a:gd name="connsiteY1762" fmla="*/ 1097859 h 1590675"/>
              <a:gd name="connsiteX1763" fmla="*/ 1738884 w 1933575"/>
              <a:gd name="connsiteY1763" fmla="*/ 1107955 h 1590675"/>
              <a:gd name="connsiteX1764" fmla="*/ 1724406 w 1933575"/>
              <a:gd name="connsiteY1764" fmla="*/ 1093191 h 1590675"/>
              <a:gd name="connsiteX1765" fmla="*/ 1740122 w 1933575"/>
              <a:gd name="connsiteY1765" fmla="*/ 1079761 h 1590675"/>
              <a:gd name="connsiteX1766" fmla="*/ 1755934 w 1933575"/>
              <a:gd name="connsiteY1766" fmla="*/ 1091286 h 1590675"/>
              <a:gd name="connsiteX1767" fmla="*/ 1755648 w 1933575"/>
              <a:gd name="connsiteY1767" fmla="*/ 1097859 h 1590675"/>
              <a:gd name="connsiteX1768" fmla="*/ 1415415 w 1933575"/>
              <a:gd name="connsiteY1768" fmla="*/ 610750 h 1590675"/>
              <a:gd name="connsiteX1769" fmla="*/ 1426083 w 1933575"/>
              <a:gd name="connsiteY1769" fmla="*/ 627133 h 1590675"/>
              <a:gd name="connsiteX1770" fmla="*/ 1411891 w 1933575"/>
              <a:gd name="connsiteY1770" fmla="*/ 642183 h 1590675"/>
              <a:gd name="connsiteX1771" fmla="*/ 1397889 w 1933575"/>
              <a:gd name="connsiteY1771" fmla="*/ 627038 h 1590675"/>
              <a:gd name="connsiteX1772" fmla="*/ 1408748 w 1933575"/>
              <a:gd name="connsiteY1772" fmla="*/ 610750 h 1590675"/>
              <a:gd name="connsiteX1773" fmla="*/ 1415415 w 1933575"/>
              <a:gd name="connsiteY1773" fmla="*/ 610750 h 1590675"/>
              <a:gd name="connsiteX1774" fmla="*/ 120777 w 1933575"/>
              <a:gd name="connsiteY1774" fmla="*/ 90304 h 1590675"/>
              <a:gd name="connsiteX1775" fmla="*/ 110395 w 1933575"/>
              <a:gd name="connsiteY1775" fmla="*/ 73730 h 1590675"/>
              <a:gd name="connsiteX1776" fmla="*/ 124873 w 1933575"/>
              <a:gd name="connsiteY1776" fmla="*/ 58967 h 1590675"/>
              <a:gd name="connsiteX1777" fmla="*/ 138589 w 1933575"/>
              <a:gd name="connsiteY1777" fmla="*/ 74397 h 1590675"/>
              <a:gd name="connsiteX1778" fmla="*/ 127349 w 1933575"/>
              <a:gd name="connsiteY1778" fmla="*/ 90495 h 1590675"/>
              <a:gd name="connsiteX1779" fmla="*/ 120777 w 1933575"/>
              <a:gd name="connsiteY1779" fmla="*/ 90304 h 1590675"/>
              <a:gd name="connsiteX1780" fmla="*/ 693325 w 1933575"/>
              <a:gd name="connsiteY1780" fmla="*/ 176124 h 1590675"/>
              <a:gd name="connsiteX1781" fmla="*/ 675894 w 1933575"/>
              <a:gd name="connsiteY1781" fmla="*/ 187459 h 1590675"/>
              <a:gd name="connsiteX1782" fmla="*/ 660845 w 1933575"/>
              <a:gd name="connsiteY1782" fmla="*/ 172981 h 1590675"/>
              <a:gd name="connsiteX1783" fmla="*/ 675704 w 1933575"/>
              <a:gd name="connsiteY1783" fmla="*/ 158312 h 1590675"/>
              <a:gd name="connsiteX1784" fmla="*/ 693325 w 1933575"/>
              <a:gd name="connsiteY1784" fmla="*/ 169457 h 1590675"/>
              <a:gd name="connsiteX1785" fmla="*/ 693325 w 1933575"/>
              <a:gd name="connsiteY1785" fmla="*/ 176124 h 1590675"/>
              <a:gd name="connsiteX1786" fmla="*/ 772097 w 1933575"/>
              <a:gd name="connsiteY1786" fmla="*/ 189745 h 1590675"/>
              <a:gd name="connsiteX1787" fmla="*/ 756190 w 1933575"/>
              <a:gd name="connsiteY1787" fmla="*/ 200413 h 1590675"/>
              <a:gd name="connsiteX1788" fmla="*/ 741331 w 1933575"/>
              <a:gd name="connsiteY1788" fmla="*/ 187650 h 1590675"/>
              <a:gd name="connsiteX1789" fmla="*/ 755142 w 1933575"/>
              <a:gd name="connsiteY1789" fmla="*/ 173743 h 1590675"/>
              <a:gd name="connsiteX1790" fmla="*/ 771906 w 1933575"/>
              <a:gd name="connsiteY1790" fmla="*/ 183173 h 1590675"/>
              <a:gd name="connsiteX1791" fmla="*/ 772097 w 1933575"/>
              <a:gd name="connsiteY1791" fmla="*/ 189745 h 1590675"/>
              <a:gd name="connsiteX1792" fmla="*/ 1871567 w 1933575"/>
              <a:gd name="connsiteY1792" fmla="*/ 1361796 h 1590675"/>
              <a:gd name="connsiteX1793" fmla="*/ 1854708 w 1933575"/>
              <a:gd name="connsiteY1793" fmla="*/ 1371226 h 1590675"/>
              <a:gd name="connsiteX1794" fmla="*/ 1842326 w 1933575"/>
              <a:gd name="connsiteY1794" fmla="*/ 1358463 h 1590675"/>
              <a:gd name="connsiteX1795" fmla="*/ 1855661 w 1933575"/>
              <a:gd name="connsiteY1795" fmla="*/ 1344937 h 1590675"/>
              <a:gd name="connsiteX1796" fmla="*/ 1871758 w 1933575"/>
              <a:gd name="connsiteY1796" fmla="*/ 1355319 h 1590675"/>
              <a:gd name="connsiteX1797" fmla="*/ 1871567 w 1933575"/>
              <a:gd name="connsiteY1797" fmla="*/ 1361796 h 1590675"/>
              <a:gd name="connsiteX1798" fmla="*/ 1907096 w 1933575"/>
              <a:gd name="connsiteY1798" fmla="*/ 1551153 h 1590675"/>
              <a:gd name="connsiteX1799" fmla="*/ 1893761 w 1933575"/>
              <a:gd name="connsiteY1799" fmla="*/ 1532008 h 1590675"/>
              <a:gd name="connsiteX1800" fmla="*/ 1906143 w 1933575"/>
              <a:gd name="connsiteY1800" fmla="*/ 1517911 h 1590675"/>
              <a:gd name="connsiteX1801" fmla="*/ 1919288 w 1933575"/>
              <a:gd name="connsiteY1801" fmla="*/ 1531341 h 1590675"/>
              <a:gd name="connsiteX1802" fmla="*/ 1907096 w 1933575"/>
              <a:gd name="connsiteY1802" fmla="*/ 1551153 h 1590675"/>
              <a:gd name="connsiteX1803" fmla="*/ 64580 w 1933575"/>
              <a:gd name="connsiteY1803" fmla="*/ 59348 h 1590675"/>
              <a:gd name="connsiteX1804" fmla="*/ 45244 w 1933575"/>
              <a:gd name="connsiteY1804" fmla="*/ 72111 h 1590675"/>
              <a:gd name="connsiteX1805" fmla="*/ 30956 w 1933575"/>
              <a:gd name="connsiteY1805" fmla="*/ 58300 h 1590675"/>
              <a:gd name="connsiteX1806" fmla="*/ 45339 w 1933575"/>
              <a:gd name="connsiteY1806" fmla="*/ 46108 h 1590675"/>
              <a:gd name="connsiteX1807" fmla="*/ 64580 w 1933575"/>
              <a:gd name="connsiteY1807" fmla="*/ 59348 h 1590675"/>
              <a:gd name="connsiteX1808" fmla="*/ 1224153 w 1933575"/>
              <a:gd name="connsiteY1808" fmla="*/ 429680 h 1590675"/>
              <a:gd name="connsiteX1809" fmla="*/ 1204436 w 1933575"/>
              <a:gd name="connsiteY1809" fmla="*/ 441681 h 1590675"/>
              <a:gd name="connsiteX1810" fmla="*/ 1190720 w 1933575"/>
              <a:gd name="connsiteY1810" fmla="*/ 427298 h 1590675"/>
              <a:gd name="connsiteX1811" fmla="*/ 1205579 w 1933575"/>
              <a:gd name="connsiteY1811" fmla="*/ 415678 h 1590675"/>
              <a:gd name="connsiteX1812" fmla="*/ 1224153 w 1933575"/>
              <a:gd name="connsiteY1812" fmla="*/ 429680 h 1590675"/>
              <a:gd name="connsiteX1813" fmla="*/ 1074706 w 1933575"/>
              <a:gd name="connsiteY1813" fmla="*/ 323952 h 1590675"/>
              <a:gd name="connsiteX1814" fmla="*/ 1058990 w 1933575"/>
              <a:gd name="connsiteY1814" fmla="*/ 333096 h 1590675"/>
              <a:gd name="connsiteX1815" fmla="*/ 1047179 w 1933575"/>
              <a:gd name="connsiteY1815" fmla="*/ 319571 h 1590675"/>
              <a:gd name="connsiteX1816" fmla="*/ 1059561 w 1933575"/>
              <a:gd name="connsiteY1816" fmla="*/ 308236 h 1590675"/>
              <a:gd name="connsiteX1817" fmla="*/ 1074896 w 1933575"/>
              <a:gd name="connsiteY1817" fmla="*/ 318142 h 1590675"/>
              <a:gd name="connsiteX1818" fmla="*/ 1074706 w 1933575"/>
              <a:gd name="connsiteY1818" fmla="*/ 323952 h 1590675"/>
              <a:gd name="connsiteX1819" fmla="*/ 835533 w 1933575"/>
              <a:gd name="connsiteY1819" fmla="*/ 216510 h 1590675"/>
              <a:gd name="connsiteX1820" fmla="*/ 823055 w 1933575"/>
              <a:gd name="connsiteY1820" fmla="*/ 199175 h 1590675"/>
              <a:gd name="connsiteX1821" fmla="*/ 834009 w 1933575"/>
              <a:gd name="connsiteY1821" fmla="*/ 185649 h 1590675"/>
              <a:gd name="connsiteX1822" fmla="*/ 847058 w 1933575"/>
              <a:gd name="connsiteY1822" fmla="*/ 198603 h 1590675"/>
              <a:gd name="connsiteX1823" fmla="*/ 835533 w 1933575"/>
              <a:gd name="connsiteY1823" fmla="*/ 216510 h 1590675"/>
              <a:gd name="connsiteX1824" fmla="*/ 1806512 w 1933575"/>
              <a:gd name="connsiteY1824" fmla="*/ 1172249 h 1590675"/>
              <a:gd name="connsiteX1825" fmla="*/ 1816608 w 1933575"/>
              <a:gd name="connsiteY1825" fmla="*/ 1187298 h 1590675"/>
              <a:gd name="connsiteX1826" fmla="*/ 1803845 w 1933575"/>
              <a:gd name="connsiteY1826" fmla="*/ 1199967 h 1590675"/>
              <a:gd name="connsiteX1827" fmla="*/ 1791748 w 1933575"/>
              <a:gd name="connsiteY1827" fmla="*/ 1188441 h 1590675"/>
              <a:gd name="connsiteX1828" fmla="*/ 1800606 w 1933575"/>
              <a:gd name="connsiteY1828" fmla="*/ 1172535 h 1590675"/>
              <a:gd name="connsiteX1829" fmla="*/ 1806512 w 1933575"/>
              <a:gd name="connsiteY1829" fmla="*/ 1172249 h 1590675"/>
              <a:gd name="connsiteX1830" fmla="*/ 1343882 w 1933575"/>
              <a:gd name="connsiteY1830" fmla="*/ 549123 h 1590675"/>
              <a:gd name="connsiteX1831" fmla="*/ 1334262 w 1933575"/>
              <a:gd name="connsiteY1831" fmla="*/ 533788 h 1590675"/>
              <a:gd name="connsiteX1832" fmla="*/ 1347311 w 1933575"/>
              <a:gd name="connsiteY1832" fmla="*/ 521501 h 1590675"/>
              <a:gd name="connsiteX1833" fmla="*/ 1359027 w 1933575"/>
              <a:gd name="connsiteY1833" fmla="*/ 533407 h 1590675"/>
              <a:gd name="connsiteX1834" fmla="*/ 1349693 w 1933575"/>
              <a:gd name="connsiteY1834" fmla="*/ 549123 h 1590675"/>
              <a:gd name="connsiteX1835" fmla="*/ 1343882 w 1933575"/>
              <a:gd name="connsiteY1835" fmla="*/ 549123 h 1590675"/>
              <a:gd name="connsiteX1836" fmla="*/ 914210 w 1933575"/>
              <a:gd name="connsiteY1836" fmla="*/ 196889 h 1590675"/>
              <a:gd name="connsiteX1837" fmla="*/ 924877 w 1933575"/>
              <a:gd name="connsiteY1837" fmla="*/ 212319 h 1590675"/>
              <a:gd name="connsiteX1838" fmla="*/ 914972 w 1933575"/>
              <a:gd name="connsiteY1838" fmla="*/ 223654 h 1590675"/>
              <a:gd name="connsiteX1839" fmla="*/ 904399 w 1933575"/>
              <a:gd name="connsiteY1839" fmla="*/ 212986 h 1590675"/>
              <a:gd name="connsiteX1840" fmla="*/ 914210 w 1933575"/>
              <a:gd name="connsiteY1840" fmla="*/ 196889 h 1590675"/>
              <a:gd name="connsiteX1841" fmla="*/ 1704785 w 1933575"/>
              <a:gd name="connsiteY1841" fmla="*/ 920503 h 1590675"/>
              <a:gd name="connsiteX1842" fmla="*/ 1687449 w 1933575"/>
              <a:gd name="connsiteY1842" fmla="*/ 931076 h 1590675"/>
              <a:gd name="connsiteX1843" fmla="*/ 1677067 w 1933575"/>
              <a:gd name="connsiteY1843" fmla="*/ 919551 h 1590675"/>
              <a:gd name="connsiteX1844" fmla="*/ 1687449 w 1933575"/>
              <a:gd name="connsiteY1844" fmla="*/ 909740 h 1590675"/>
              <a:gd name="connsiteX1845" fmla="*/ 1704785 w 1933575"/>
              <a:gd name="connsiteY1845" fmla="*/ 920503 h 1590675"/>
              <a:gd name="connsiteX1846" fmla="*/ 1280827 w 1933575"/>
              <a:gd name="connsiteY1846" fmla="*/ 458731 h 1590675"/>
              <a:gd name="connsiteX1847" fmla="*/ 1271111 w 1933575"/>
              <a:gd name="connsiteY1847" fmla="*/ 442634 h 1590675"/>
              <a:gd name="connsiteX1848" fmla="*/ 1281684 w 1933575"/>
              <a:gd name="connsiteY1848" fmla="*/ 431966 h 1590675"/>
              <a:gd name="connsiteX1849" fmla="*/ 1291590 w 1933575"/>
              <a:gd name="connsiteY1849" fmla="*/ 443301 h 1590675"/>
              <a:gd name="connsiteX1850" fmla="*/ 1280827 w 1933575"/>
              <a:gd name="connsiteY1850" fmla="*/ 458731 h 1590675"/>
              <a:gd name="connsiteX1851" fmla="*/ 1574006 w 1933575"/>
              <a:gd name="connsiteY1851" fmla="*/ 735337 h 1590675"/>
              <a:gd name="connsiteX1852" fmla="*/ 1556957 w 1933575"/>
              <a:gd name="connsiteY1852" fmla="*/ 746291 h 1590675"/>
              <a:gd name="connsiteX1853" fmla="*/ 1546289 w 1933575"/>
              <a:gd name="connsiteY1853" fmla="*/ 735051 h 1590675"/>
              <a:gd name="connsiteX1854" fmla="*/ 1556385 w 1933575"/>
              <a:gd name="connsiteY1854" fmla="*/ 724955 h 1590675"/>
              <a:gd name="connsiteX1855" fmla="*/ 1574006 w 1933575"/>
              <a:gd name="connsiteY1855" fmla="*/ 735337 h 1590675"/>
              <a:gd name="connsiteX1856" fmla="*/ 1621536 w 1933575"/>
              <a:gd name="connsiteY1856" fmla="*/ 812585 h 1590675"/>
              <a:gd name="connsiteX1857" fmla="*/ 1633157 w 1933575"/>
              <a:gd name="connsiteY1857" fmla="*/ 828492 h 1590675"/>
              <a:gd name="connsiteX1858" fmla="*/ 1622107 w 1933575"/>
              <a:gd name="connsiteY1858" fmla="*/ 841160 h 1590675"/>
              <a:gd name="connsiteX1859" fmla="*/ 1611440 w 1933575"/>
              <a:gd name="connsiteY1859" fmla="*/ 829635 h 1590675"/>
              <a:gd name="connsiteX1860" fmla="*/ 1621536 w 1933575"/>
              <a:gd name="connsiteY1860" fmla="*/ 812585 h 1590675"/>
              <a:gd name="connsiteX1861" fmla="*/ 453676 w 1933575"/>
              <a:gd name="connsiteY1861" fmla="*/ 64777 h 1590675"/>
              <a:gd name="connsiteX1862" fmla="*/ 444818 w 1933575"/>
              <a:gd name="connsiteY1862" fmla="*/ 50775 h 1590675"/>
              <a:gd name="connsiteX1863" fmla="*/ 455200 w 1933575"/>
              <a:gd name="connsiteY1863" fmla="*/ 40679 h 1590675"/>
              <a:gd name="connsiteX1864" fmla="*/ 463487 w 1933575"/>
              <a:gd name="connsiteY1864" fmla="*/ 51442 h 1590675"/>
              <a:gd name="connsiteX1865" fmla="*/ 453676 w 1933575"/>
              <a:gd name="connsiteY1865" fmla="*/ 64777 h 1590675"/>
              <a:gd name="connsiteX1866" fmla="*/ 1490663 w 1933575"/>
              <a:gd name="connsiteY1866" fmla="*/ 657327 h 1590675"/>
              <a:gd name="connsiteX1867" fmla="*/ 1481709 w 1933575"/>
              <a:gd name="connsiteY1867" fmla="*/ 641039 h 1590675"/>
              <a:gd name="connsiteX1868" fmla="*/ 1492949 w 1933575"/>
              <a:gd name="connsiteY1868" fmla="*/ 632181 h 1590675"/>
              <a:gd name="connsiteX1869" fmla="*/ 1501426 w 1933575"/>
              <a:gd name="connsiteY1869" fmla="*/ 642183 h 1590675"/>
              <a:gd name="connsiteX1870" fmla="*/ 1490663 w 1933575"/>
              <a:gd name="connsiteY1870" fmla="*/ 657327 h 1590675"/>
              <a:gd name="connsiteX1871" fmla="*/ 1936242 w 1933575"/>
              <a:gd name="connsiteY1871" fmla="*/ 1451046 h 1590675"/>
              <a:gd name="connsiteX1872" fmla="*/ 1921097 w 1933575"/>
              <a:gd name="connsiteY1872" fmla="*/ 1461714 h 1590675"/>
              <a:gd name="connsiteX1873" fmla="*/ 1910906 w 1933575"/>
              <a:gd name="connsiteY1873" fmla="*/ 1451617 h 1590675"/>
              <a:gd name="connsiteX1874" fmla="*/ 1919859 w 1933575"/>
              <a:gd name="connsiteY1874" fmla="*/ 1441997 h 1590675"/>
              <a:gd name="connsiteX1875" fmla="*/ 1936242 w 1933575"/>
              <a:gd name="connsiteY1875" fmla="*/ 1451046 h 1590675"/>
              <a:gd name="connsiteX1876" fmla="*/ 1154621 w 1933575"/>
              <a:gd name="connsiteY1876" fmla="*/ 335382 h 1590675"/>
              <a:gd name="connsiteX1877" fmla="*/ 1138619 w 1933575"/>
              <a:gd name="connsiteY1877" fmla="*/ 344812 h 1590675"/>
              <a:gd name="connsiteX1878" fmla="*/ 1129284 w 1933575"/>
              <a:gd name="connsiteY1878" fmla="*/ 333858 h 1590675"/>
              <a:gd name="connsiteX1879" fmla="*/ 1139095 w 1933575"/>
              <a:gd name="connsiteY1879" fmla="*/ 325095 h 1590675"/>
              <a:gd name="connsiteX1880" fmla="*/ 1154621 w 1933575"/>
              <a:gd name="connsiteY1880" fmla="*/ 335382 h 1590675"/>
              <a:gd name="connsiteX1881" fmla="*/ 1854137 w 1933575"/>
              <a:gd name="connsiteY1881" fmla="*/ 1282263 h 1590675"/>
              <a:gd name="connsiteX1882" fmla="*/ 1869377 w 1933575"/>
              <a:gd name="connsiteY1882" fmla="*/ 1271499 h 1590675"/>
              <a:gd name="connsiteX1883" fmla="*/ 1879378 w 1933575"/>
              <a:gd name="connsiteY1883" fmla="*/ 1279977 h 1590675"/>
              <a:gd name="connsiteX1884" fmla="*/ 1870520 w 1933575"/>
              <a:gd name="connsiteY1884" fmla="*/ 1291216 h 1590675"/>
              <a:gd name="connsiteX1885" fmla="*/ 1854137 w 1933575"/>
              <a:gd name="connsiteY1885" fmla="*/ 1282263 h 1590675"/>
              <a:gd name="connsiteX1886" fmla="*/ 1768507 w 1933575"/>
              <a:gd name="connsiteY1886" fmla="*/ 1013943 h 1590675"/>
              <a:gd name="connsiteX1887" fmla="*/ 1752981 w 1933575"/>
              <a:gd name="connsiteY1887" fmla="*/ 1024040 h 1590675"/>
              <a:gd name="connsiteX1888" fmla="*/ 1743170 w 1933575"/>
              <a:gd name="connsiteY1888" fmla="*/ 1013562 h 1590675"/>
              <a:gd name="connsiteX1889" fmla="*/ 1752505 w 1933575"/>
              <a:gd name="connsiteY1889" fmla="*/ 1004323 h 1590675"/>
              <a:gd name="connsiteX1890" fmla="*/ 1768507 w 1933575"/>
              <a:gd name="connsiteY1890" fmla="*/ 1013943 h 1590675"/>
              <a:gd name="connsiteX1891" fmla="*/ 388715 w 1933575"/>
              <a:gd name="connsiteY1891" fmla="*/ 37440 h 1590675"/>
              <a:gd name="connsiteX1892" fmla="*/ 374523 w 1933575"/>
              <a:gd name="connsiteY1892" fmla="*/ 45822 h 1590675"/>
              <a:gd name="connsiteX1893" fmla="*/ 364808 w 1933575"/>
              <a:gd name="connsiteY1893" fmla="*/ 35059 h 1590675"/>
              <a:gd name="connsiteX1894" fmla="*/ 375761 w 1933575"/>
              <a:gd name="connsiteY1894" fmla="*/ 27058 h 1590675"/>
              <a:gd name="connsiteX1895" fmla="*/ 388715 w 1933575"/>
              <a:gd name="connsiteY1895" fmla="*/ 37440 h 1590675"/>
              <a:gd name="connsiteX1896" fmla="*/ 227933 w 1933575"/>
              <a:gd name="connsiteY1896" fmla="*/ 7151 h 1590675"/>
              <a:gd name="connsiteX1897" fmla="*/ 215741 w 1933575"/>
              <a:gd name="connsiteY1897" fmla="*/ 16009 h 1590675"/>
              <a:gd name="connsiteX1898" fmla="*/ 207455 w 1933575"/>
              <a:gd name="connsiteY1898" fmla="*/ 7818 h 1590675"/>
              <a:gd name="connsiteX1899" fmla="*/ 214503 w 1933575"/>
              <a:gd name="connsiteY1899" fmla="*/ 7 h 1590675"/>
              <a:gd name="connsiteX1900" fmla="*/ 227933 w 1933575"/>
              <a:gd name="connsiteY1900" fmla="*/ 7151 h 1590675"/>
              <a:gd name="connsiteX1901" fmla="*/ 547307 w 1933575"/>
              <a:gd name="connsiteY1901" fmla="*/ 65825 h 1590675"/>
              <a:gd name="connsiteX1902" fmla="*/ 532924 w 1933575"/>
              <a:gd name="connsiteY1902" fmla="*/ 73540 h 1590675"/>
              <a:gd name="connsiteX1903" fmla="*/ 525113 w 1933575"/>
              <a:gd name="connsiteY1903" fmla="*/ 64872 h 1590675"/>
              <a:gd name="connsiteX1904" fmla="*/ 534829 w 1933575"/>
              <a:gd name="connsiteY1904" fmla="*/ 56204 h 1590675"/>
              <a:gd name="connsiteX1905" fmla="*/ 547307 w 1933575"/>
              <a:gd name="connsiteY1905" fmla="*/ 65825 h 1590675"/>
              <a:gd name="connsiteX1906" fmla="*/ 1438751 w 1933575"/>
              <a:gd name="connsiteY1906" fmla="*/ 547695 h 1590675"/>
              <a:gd name="connsiteX1907" fmla="*/ 1426083 w 1933575"/>
              <a:gd name="connsiteY1907" fmla="*/ 556077 h 1590675"/>
              <a:gd name="connsiteX1908" fmla="*/ 1418177 w 1933575"/>
              <a:gd name="connsiteY1908" fmla="*/ 549123 h 1590675"/>
              <a:gd name="connsiteX1909" fmla="*/ 1425702 w 1933575"/>
              <a:gd name="connsiteY1909" fmla="*/ 540075 h 1590675"/>
              <a:gd name="connsiteX1910" fmla="*/ 1438751 w 1933575"/>
              <a:gd name="connsiteY1910" fmla="*/ 547695 h 1590675"/>
              <a:gd name="connsiteX1911" fmla="*/ 994886 w 1933575"/>
              <a:gd name="connsiteY1911" fmla="*/ 238418 h 1590675"/>
              <a:gd name="connsiteX1912" fmla="*/ 986504 w 1933575"/>
              <a:gd name="connsiteY1912" fmla="*/ 227750 h 1590675"/>
              <a:gd name="connsiteX1913" fmla="*/ 994505 w 1933575"/>
              <a:gd name="connsiteY1913" fmla="*/ 218606 h 1590675"/>
              <a:gd name="connsiteX1914" fmla="*/ 1002030 w 1933575"/>
              <a:gd name="connsiteY1914" fmla="*/ 226893 h 1590675"/>
              <a:gd name="connsiteX1915" fmla="*/ 994886 w 1933575"/>
              <a:gd name="connsiteY1915" fmla="*/ 238418 h 1590675"/>
              <a:gd name="connsiteX1916" fmla="*/ 612934 w 1933575"/>
              <a:gd name="connsiteY1916" fmla="*/ 66301 h 1590675"/>
              <a:gd name="connsiteX1917" fmla="*/ 621602 w 1933575"/>
              <a:gd name="connsiteY1917" fmla="*/ 78779 h 1590675"/>
              <a:gd name="connsiteX1918" fmla="*/ 613505 w 1933575"/>
              <a:gd name="connsiteY1918" fmla="*/ 87351 h 1590675"/>
              <a:gd name="connsiteX1919" fmla="*/ 604933 w 1933575"/>
              <a:gd name="connsiteY1919" fmla="*/ 79255 h 1590675"/>
              <a:gd name="connsiteX1920" fmla="*/ 612934 w 1933575"/>
              <a:gd name="connsiteY1920" fmla="*/ 66301 h 1590675"/>
              <a:gd name="connsiteX1921" fmla="*/ 1830991 w 1933575"/>
              <a:gd name="connsiteY1921" fmla="*/ 1107384 h 1590675"/>
              <a:gd name="connsiteX1922" fmla="*/ 1818608 w 1933575"/>
              <a:gd name="connsiteY1922" fmla="*/ 1116051 h 1590675"/>
              <a:gd name="connsiteX1923" fmla="*/ 1810417 w 1933575"/>
              <a:gd name="connsiteY1923" fmla="*/ 1107669 h 1590675"/>
              <a:gd name="connsiteX1924" fmla="*/ 1817656 w 1933575"/>
              <a:gd name="connsiteY1924" fmla="*/ 1100049 h 1590675"/>
              <a:gd name="connsiteX1925" fmla="*/ 1830991 w 1933575"/>
              <a:gd name="connsiteY1925" fmla="*/ 1107384 h 1590675"/>
              <a:gd name="connsiteX1926" fmla="*/ 701612 w 1933575"/>
              <a:gd name="connsiteY1926" fmla="*/ 93828 h 1590675"/>
              <a:gd name="connsiteX1927" fmla="*/ 690277 w 1933575"/>
              <a:gd name="connsiteY1927" fmla="*/ 101067 h 1590675"/>
              <a:gd name="connsiteX1928" fmla="*/ 681800 w 1933575"/>
              <a:gd name="connsiteY1928" fmla="*/ 92304 h 1590675"/>
              <a:gd name="connsiteX1929" fmla="*/ 690753 w 1933575"/>
              <a:gd name="connsiteY1929" fmla="*/ 85542 h 1590675"/>
              <a:gd name="connsiteX1930" fmla="*/ 701612 w 1933575"/>
              <a:gd name="connsiteY1930" fmla="*/ 93828 h 1590675"/>
              <a:gd name="connsiteX1931" fmla="*/ 308610 w 1933575"/>
              <a:gd name="connsiteY1931" fmla="*/ 22200 h 1590675"/>
              <a:gd name="connsiteX1932" fmla="*/ 294799 w 1933575"/>
              <a:gd name="connsiteY1932" fmla="*/ 30963 h 1590675"/>
              <a:gd name="connsiteX1933" fmla="*/ 285750 w 1933575"/>
              <a:gd name="connsiteY1933" fmla="*/ 22772 h 1590675"/>
              <a:gd name="connsiteX1934" fmla="*/ 295370 w 1933575"/>
              <a:gd name="connsiteY1934" fmla="*/ 13533 h 1590675"/>
              <a:gd name="connsiteX1935" fmla="*/ 308610 w 1933575"/>
              <a:gd name="connsiteY1935" fmla="*/ 22200 h 1590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</a:cxnLst>
            <a:rect l="l" t="t" r="r" b="b"/>
            <a:pathLst>
              <a:path w="1933575" h="1590675">
                <a:moveTo>
                  <a:pt x="95" y="1400658"/>
                </a:moveTo>
                <a:lnTo>
                  <a:pt x="95" y="1590492"/>
                </a:lnTo>
                <a:lnTo>
                  <a:pt x="549783" y="1590492"/>
                </a:lnTo>
                <a:cubicBezTo>
                  <a:pt x="546259" y="1585634"/>
                  <a:pt x="542735" y="1580871"/>
                  <a:pt x="538639" y="1575347"/>
                </a:cubicBezTo>
                <a:cubicBezTo>
                  <a:pt x="544830" y="1570775"/>
                  <a:pt x="549974" y="1566965"/>
                  <a:pt x="555593" y="1562869"/>
                </a:cubicBezTo>
                <a:cubicBezTo>
                  <a:pt x="559689" y="1568679"/>
                  <a:pt x="563594" y="1574299"/>
                  <a:pt x="567976" y="1580490"/>
                </a:cubicBezTo>
                <a:cubicBezTo>
                  <a:pt x="562928" y="1583824"/>
                  <a:pt x="558070" y="1586967"/>
                  <a:pt x="552831" y="1590396"/>
                </a:cubicBezTo>
                <a:lnTo>
                  <a:pt x="617315" y="1590396"/>
                </a:lnTo>
                <a:cubicBezTo>
                  <a:pt x="617029" y="1590015"/>
                  <a:pt x="616744" y="1589634"/>
                  <a:pt x="616363" y="1589158"/>
                </a:cubicBezTo>
                <a:cubicBezTo>
                  <a:pt x="622459" y="1584967"/>
                  <a:pt x="627507" y="1581443"/>
                  <a:pt x="633317" y="1577442"/>
                </a:cubicBezTo>
                <a:cubicBezTo>
                  <a:pt x="636556" y="1581729"/>
                  <a:pt x="639794" y="1586015"/>
                  <a:pt x="643128" y="1590396"/>
                </a:cubicBezTo>
                <a:lnTo>
                  <a:pt x="709422" y="1590396"/>
                </a:lnTo>
                <a:cubicBezTo>
                  <a:pt x="710470" y="1589634"/>
                  <a:pt x="711422" y="1588968"/>
                  <a:pt x="712470" y="1588110"/>
                </a:cubicBezTo>
                <a:cubicBezTo>
                  <a:pt x="713042" y="1588872"/>
                  <a:pt x="713613" y="1589634"/>
                  <a:pt x="714089" y="1590396"/>
                </a:cubicBezTo>
                <a:lnTo>
                  <a:pt x="955262" y="1590396"/>
                </a:lnTo>
                <a:cubicBezTo>
                  <a:pt x="949262" y="1581919"/>
                  <a:pt x="943070" y="1573061"/>
                  <a:pt x="937355" y="1564964"/>
                </a:cubicBezTo>
                <a:cubicBezTo>
                  <a:pt x="946499" y="1558202"/>
                  <a:pt x="957263" y="1550296"/>
                  <a:pt x="966788" y="1543247"/>
                </a:cubicBezTo>
                <a:cubicBezTo>
                  <a:pt x="973646" y="1552868"/>
                  <a:pt x="982123" y="1564869"/>
                  <a:pt x="989171" y="1574775"/>
                </a:cubicBezTo>
                <a:cubicBezTo>
                  <a:pt x="981551" y="1579347"/>
                  <a:pt x="972312" y="1584967"/>
                  <a:pt x="963263" y="1590396"/>
                </a:cubicBezTo>
                <a:lnTo>
                  <a:pt x="1022604" y="1590396"/>
                </a:lnTo>
                <a:cubicBezTo>
                  <a:pt x="1019651" y="1586396"/>
                  <a:pt x="1016794" y="1582491"/>
                  <a:pt x="1014317" y="1579062"/>
                </a:cubicBezTo>
                <a:cubicBezTo>
                  <a:pt x="1024319" y="1571727"/>
                  <a:pt x="1036892" y="1562583"/>
                  <a:pt x="1047464" y="1554868"/>
                </a:cubicBezTo>
                <a:cubicBezTo>
                  <a:pt x="1052798" y="1563822"/>
                  <a:pt x="1059942" y="1575918"/>
                  <a:pt x="1066514" y="1586872"/>
                </a:cubicBezTo>
                <a:cubicBezTo>
                  <a:pt x="1064990" y="1588015"/>
                  <a:pt x="1063371" y="1589253"/>
                  <a:pt x="1061752" y="1590396"/>
                </a:cubicBezTo>
                <a:lnTo>
                  <a:pt x="1098233" y="1590396"/>
                </a:lnTo>
                <a:cubicBezTo>
                  <a:pt x="1108424" y="1582300"/>
                  <a:pt x="1118235" y="1574489"/>
                  <a:pt x="1127189" y="1567346"/>
                </a:cubicBezTo>
                <a:cubicBezTo>
                  <a:pt x="1128332" y="1576014"/>
                  <a:pt x="1131856" y="1584110"/>
                  <a:pt x="1136809" y="1590396"/>
                </a:cubicBezTo>
                <a:lnTo>
                  <a:pt x="1193197" y="1590396"/>
                </a:lnTo>
                <a:cubicBezTo>
                  <a:pt x="1196721" y="1586586"/>
                  <a:pt x="1199483" y="1582110"/>
                  <a:pt x="1201103" y="1576966"/>
                </a:cubicBezTo>
                <a:cubicBezTo>
                  <a:pt x="1206341" y="1560107"/>
                  <a:pt x="1199769" y="1540104"/>
                  <a:pt x="1183767" y="1533246"/>
                </a:cubicBezTo>
                <a:cubicBezTo>
                  <a:pt x="1174528" y="1529246"/>
                  <a:pt x="1162145" y="1527817"/>
                  <a:pt x="1152620" y="1530484"/>
                </a:cubicBezTo>
                <a:cubicBezTo>
                  <a:pt x="1143381" y="1533056"/>
                  <a:pt x="1136047" y="1542295"/>
                  <a:pt x="1127474" y="1548867"/>
                </a:cubicBezTo>
                <a:cubicBezTo>
                  <a:pt x="1124522" y="1529055"/>
                  <a:pt x="1113473" y="1515149"/>
                  <a:pt x="1092422" y="1512672"/>
                </a:cubicBezTo>
                <a:cubicBezTo>
                  <a:pt x="1071372" y="1510196"/>
                  <a:pt x="1057942" y="1522197"/>
                  <a:pt x="1049084" y="1542200"/>
                </a:cubicBezTo>
                <a:cubicBezTo>
                  <a:pt x="1046988" y="1518673"/>
                  <a:pt x="1043273" y="1512768"/>
                  <a:pt x="1022509" y="1498099"/>
                </a:cubicBezTo>
                <a:cubicBezTo>
                  <a:pt x="1048703" y="1491146"/>
                  <a:pt x="1060514" y="1479716"/>
                  <a:pt x="1062133" y="1460094"/>
                </a:cubicBezTo>
                <a:cubicBezTo>
                  <a:pt x="1063466" y="1443711"/>
                  <a:pt x="1053179" y="1425519"/>
                  <a:pt x="1036987" y="1421423"/>
                </a:cubicBezTo>
                <a:cubicBezTo>
                  <a:pt x="1027271" y="1418946"/>
                  <a:pt x="1014984" y="1419327"/>
                  <a:pt x="1005840" y="1423042"/>
                </a:cubicBezTo>
                <a:cubicBezTo>
                  <a:pt x="996982" y="1426662"/>
                  <a:pt x="990600" y="1436282"/>
                  <a:pt x="983552" y="1442949"/>
                </a:cubicBezTo>
                <a:cubicBezTo>
                  <a:pt x="981361" y="1423995"/>
                  <a:pt x="977170" y="1417613"/>
                  <a:pt x="957358" y="1404183"/>
                </a:cubicBezTo>
                <a:cubicBezTo>
                  <a:pt x="960406" y="1403516"/>
                  <a:pt x="963073" y="1402944"/>
                  <a:pt x="965740" y="1402278"/>
                </a:cubicBezTo>
                <a:cubicBezTo>
                  <a:pt x="983456" y="1397229"/>
                  <a:pt x="995363" y="1384085"/>
                  <a:pt x="997077" y="1367702"/>
                </a:cubicBezTo>
                <a:cubicBezTo>
                  <a:pt x="998792" y="1350747"/>
                  <a:pt x="989076" y="1334936"/>
                  <a:pt x="972122" y="1326935"/>
                </a:cubicBezTo>
                <a:cubicBezTo>
                  <a:pt x="970026" y="1325982"/>
                  <a:pt x="968026" y="1324744"/>
                  <a:pt x="966026" y="1323696"/>
                </a:cubicBezTo>
                <a:lnTo>
                  <a:pt x="966502" y="1323982"/>
                </a:lnTo>
                <a:cubicBezTo>
                  <a:pt x="945071" y="1322648"/>
                  <a:pt x="928688" y="1330269"/>
                  <a:pt x="918782" y="1353605"/>
                </a:cubicBezTo>
                <a:cubicBezTo>
                  <a:pt x="917829" y="1332459"/>
                  <a:pt x="909161" y="1319505"/>
                  <a:pt x="889635" y="1310171"/>
                </a:cubicBezTo>
                <a:cubicBezTo>
                  <a:pt x="912781" y="1308075"/>
                  <a:pt x="925259" y="1296264"/>
                  <a:pt x="932212" y="1277976"/>
                </a:cubicBezTo>
                <a:lnTo>
                  <a:pt x="931354" y="1278738"/>
                </a:lnTo>
                <a:cubicBezTo>
                  <a:pt x="932783" y="1259117"/>
                  <a:pt x="926783" y="1243115"/>
                  <a:pt x="908209" y="1234161"/>
                </a:cubicBezTo>
                <a:cubicBezTo>
                  <a:pt x="888111" y="1224446"/>
                  <a:pt x="869061" y="1232542"/>
                  <a:pt x="855059" y="1254164"/>
                </a:cubicBezTo>
                <a:cubicBezTo>
                  <a:pt x="848677" y="1243020"/>
                  <a:pt x="841629" y="1230637"/>
                  <a:pt x="834390" y="1217873"/>
                </a:cubicBezTo>
                <a:cubicBezTo>
                  <a:pt x="848582" y="1214540"/>
                  <a:pt x="858965" y="1204539"/>
                  <a:pt x="865251" y="1189775"/>
                </a:cubicBezTo>
                <a:cubicBezTo>
                  <a:pt x="867823" y="1165962"/>
                  <a:pt x="858679" y="1148817"/>
                  <a:pt x="839629" y="1142055"/>
                </a:cubicBezTo>
                <a:cubicBezTo>
                  <a:pt x="819626" y="1134911"/>
                  <a:pt x="803339" y="1142626"/>
                  <a:pt x="787051" y="1167581"/>
                </a:cubicBezTo>
                <a:cubicBezTo>
                  <a:pt x="787051" y="1147579"/>
                  <a:pt x="776764" y="1134720"/>
                  <a:pt x="759143" y="1125576"/>
                </a:cubicBezTo>
                <a:cubicBezTo>
                  <a:pt x="763524" y="1124433"/>
                  <a:pt x="766286" y="1123767"/>
                  <a:pt x="768953" y="1123100"/>
                </a:cubicBezTo>
                <a:cubicBezTo>
                  <a:pt x="788194" y="1117956"/>
                  <a:pt x="800672" y="1102621"/>
                  <a:pt x="800195" y="1084428"/>
                </a:cubicBezTo>
                <a:cubicBezTo>
                  <a:pt x="799719" y="1066331"/>
                  <a:pt x="787146" y="1051281"/>
                  <a:pt x="768953" y="1047186"/>
                </a:cubicBezTo>
                <a:cubicBezTo>
                  <a:pt x="751427" y="1043185"/>
                  <a:pt x="734854" y="1051662"/>
                  <a:pt x="725615" y="1068998"/>
                </a:cubicBezTo>
                <a:cubicBezTo>
                  <a:pt x="723995" y="1071951"/>
                  <a:pt x="721424" y="1074332"/>
                  <a:pt x="719233" y="1076999"/>
                </a:cubicBezTo>
                <a:cubicBezTo>
                  <a:pt x="722948" y="1058616"/>
                  <a:pt x="713613" y="1041471"/>
                  <a:pt x="695992" y="1034327"/>
                </a:cubicBezTo>
                <a:cubicBezTo>
                  <a:pt x="675989" y="1026230"/>
                  <a:pt x="657797" y="1034327"/>
                  <a:pt x="643319" y="1057187"/>
                </a:cubicBezTo>
                <a:cubicBezTo>
                  <a:pt x="640652" y="1050138"/>
                  <a:pt x="639127" y="1041471"/>
                  <a:pt x="634556" y="1034803"/>
                </a:cubicBezTo>
                <a:cubicBezTo>
                  <a:pt x="629793" y="1027945"/>
                  <a:pt x="622173" y="1022992"/>
                  <a:pt x="615410" y="1016801"/>
                </a:cubicBezTo>
                <a:cubicBezTo>
                  <a:pt x="618744" y="1016039"/>
                  <a:pt x="621887" y="1015372"/>
                  <a:pt x="625031" y="1014515"/>
                </a:cubicBezTo>
                <a:cubicBezTo>
                  <a:pt x="643223" y="1009657"/>
                  <a:pt x="655320" y="994227"/>
                  <a:pt x="654844" y="976415"/>
                </a:cubicBezTo>
                <a:cubicBezTo>
                  <a:pt x="654463" y="958317"/>
                  <a:pt x="641699" y="943172"/>
                  <a:pt x="623697" y="939363"/>
                </a:cubicBezTo>
                <a:cubicBezTo>
                  <a:pt x="605885" y="935553"/>
                  <a:pt x="589217" y="944220"/>
                  <a:pt x="580644" y="961365"/>
                </a:cubicBezTo>
                <a:cubicBezTo>
                  <a:pt x="579215" y="964318"/>
                  <a:pt x="577120" y="966985"/>
                  <a:pt x="575215" y="969747"/>
                </a:cubicBezTo>
                <a:cubicBezTo>
                  <a:pt x="576167" y="947840"/>
                  <a:pt x="567595" y="931171"/>
                  <a:pt x="549688" y="926694"/>
                </a:cubicBezTo>
                <a:cubicBezTo>
                  <a:pt x="539972" y="924313"/>
                  <a:pt x="528066" y="925551"/>
                  <a:pt x="518446" y="928885"/>
                </a:cubicBezTo>
                <a:cubicBezTo>
                  <a:pt x="508921" y="932123"/>
                  <a:pt x="500920" y="940029"/>
                  <a:pt x="496157" y="943172"/>
                </a:cubicBezTo>
                <a:cubicBezTo>
                  <a:pt x="495205" y="931743"/>
                  <a:pt x="487299" y="917074"/>
                  <a:pt x="467963" y="911073"/>
                </a:cubicBezTo>
                <a:cubicBezTo>
                  <a:pt x="447389" y="904692"/>
                  <a:pt x="432911" y="914407"/>
                  <a:pt x="420338" y="930885"/>
                </a:cubicBezTo>
                <a:cubicBezTo>
                  <a:pt x="415290" y="910502"/>
                  <a:pt x="404051" y="896976"/>
                  <a:pt x="383667" y="895071"/>
                </a:cubicBezTo>
                <a:cubicBezTo>
                  <a:pt x="363379" y="893166"/>
                  <a:pt x="349949" y="904311"/>
                  <a:pt x="343281" y="918788"/>
                </a:cubicBezTo>
                <a:cubicBezTo>
                  <a:pt x="336328" y="907263"/>
                  <a:pt x="328708" y="894500"/>
                  <a:pt x="321278" y="882117"/>
                </a:cubicBezTo>
                <a:cubicBezTo>
                  <a:pt x="343472" y="873926"/>
                  <a:pt x="354330" y="860496"/>
                  <a:pt x="353092" y="841255"/>
                </a:cubicBezTo>
                <a:cubicBezTo>
                  <a:pt x="351949" y="824491"/>
                  <a:pt x="340424" y="810394"/>
                  <a:pt x="324517" y="806394"/>
                </a:cubicBezTo>
                <a:cubicBezTo>
                  <a:pt x="307562" y="802203"/>
                  <a:pt x="288893" y="808584"/>
                  <a:pt x="282131" y="824110"/>
                </a:cubicBezTo>
                <a:cubicBezTo>
                  <a:pt x="278035" y="833349"/>
                  <a:pt x="276416" y="845637"/>
                  <a:pt x="278892" y="855257"/>
                </a:cubicBezTo>
                <a:cubicBezTo>
                  <a:pt x="281273" y="864496"/>
                  <a:pt x="290227" y="872116"/>
                  <a:pt x="294227" y="877641"/>
                </a:cubicBezTo>
                <a:cubicBezTo>
                  <a:pt x="283178" y="886404"/>
                  <a:pt x="271653" y="895452"/>
                  <a:pt x="262890" y="902310"/>
                </a:cubicBezTo>
                <a:cubicBezTo>
                  <a:pt x="256223" y="891833"/>
                  <a:pt x="248603" y="879641"/>
                  <a:pt x="241078" y="867830"/>
                </a:cubicBezTo>
                <a:cubicBezTo>
                  <a:pt x="263462" y="860400"/>
                  <a:pt x="274606" y="846589"/>
                  <a:pt x="273368" y="826968"/>
                </a:cubicBezTo>
                <a:cubicBezTo>
                  <a:pt x="272225" y="809537"/>
                  <a:pt x="260033" y="795440"/>
                  <a:pt x="243269" y="792011"/>
                </a:cubicBezTo>
                <a:cubicBezTo>
                  <a:pt x="225362" y="788391"/>
                  <a:pt x="208502" y="796583"/>
                  <a:pt x="200692" y="812680"/>
                </a:cubicBezTo>
                <a:cubicBezTo>
                  <a:pt x="191833" y="830968"/>
                  <a:pt x="197644" y="848208"/>
                  <a:pt x="215741" y="862972"/>
                </a:cubicBezTo>
                <a:cubicBezTo>
                  <a:pt x="204216" y="872021"/>
                  <a:pt x="192215" y="881546"/>
                  <a:pt x="181261" y="890213"/>
                </a:cubicBezTo>
                <a:cubicBezTo>
                  <a:pt x="178689" y="873164"/>
                  <a:pt x="167831" y="858305"/>
                  <a:pt x="146304" y="855543"/>
                </a:cubicBezTo>
                <a:cubicBezTo>
                  <a:pt x="125444" y="852876"/>
                  <a:pt x="111538" y="864210"/>
                  <a:pt x="102108" y="884784"/>
                </a:cubicBezTo>
                <a:cubicBezTo>
                  <a:pt x="100298" y="861353"/>
                  <a:pt x="90297" y="846018"/>
                  <a:pt x="68866" y="842017"/>
                </a:cubicBezTo>
                <a:cubicBezTo>
                  <a:pt x="46863" y="837921"/>
                  <a:pt x="32480" y="849828"/>
                  <a:pt x="22765" y="870592"/>
                </a:cubicBezTo>
                <a:cubicBezTo>
                  <a:pt x="21908" y="865829"/>
                  <a:pt x="21622" y="862972"/>
                  <a:pt x="20955" y="860305"/>
                </a:cubicBezTo>
                <a:cubicBezTo>
                  <a:pt x="17907" y="846875"/>
                  <a:pt x="10573" y="837064"/>
                  <a:pt x="95" y="831635"/>
                </a:cubicBezTo>
                <a:lnTo>
                  <a:pt x="95" y="901548"/>
                </a:lnTo>
                <a:cubicBezTo>
                  <a:pt x="8858" y="897167"/>
                  <a:pt x="15812" y="889833"/>
                  <a:pt x="19336" y="880403"/>
                </a:cubicBezTo>
                <a:cubicBezTo>
                  <a:pt x="25718" y="892023"/>
                  <a:pt x="32671" y="904787"/>
                  <a:pt x="38767" y="915931"/>
                </a:cubicBezTo>
                <a:cubicBezTo>
                  <a:pt x="30099" y="922503"/>
                  <a:pt x="19241" y="930695"/>
                  <a:pt x="9716" y="937934"/>
                </a:cubicBezTo>
                <a:cubicBezTo>
                  <a:pt x="6763" y="934029"/>
                  <a:pt x="3524" y="929742"/>
                  <a:pt x="95" y="925266"/>
                </a:cubicBezTo>
                <a:lnTo>
                  <a:pt x="95" y="969938"/>
                </a:lnTo>
                <a:cubicBezTo>
                  <a:pt x="2191" y="968223"/>
                  <a:pt x="4286" y="966604"/>
                  <a:pt x="6382" y="964889"/>
                </a:cubicBezTo>
                <a:cubicBezTo>
                  <a:pt x="11906" y="973367"/>
                  <a:pt x="18669" y="983939"/>
                  <a:pt x="25146" y="994036"/>
                </a:cubicBezTo>
                <a:cubicBezTo>
                  <a:pt x="17145" y="999561"/>
                  <a:pt x="8573" y="1005466"/>
                  <a:pt x="95" y="1011371"/>
                </a:cubicBezTo>
                <a:lnTo>
                  <a:pt x="95" y="1059568"/>
                </a:lnTo>
                <a:cubicBezTo>
                  <a:pt x="3143" y="1064140"/>
                  <a:pt x="6191" y="1068807"/>
                  <a:pt x="9239" y="1073475"/>
                </a:cubicBezTo>
                <a:cubicBezTo>
                  <a:pt x="6382" y="1075284"/>
                  <a:pt x="3239" y="1077189"/>
                  <a:pt x="95" y="1079189"/>
                </a:cubicBezTo>
                <a:lnTo>
                  <a:pt x="95" y="1398277"/>
                </a:lnTo>
                <a:cubicBezTo>
                  <a:pt x="4763" y="1394848"/>
                  <a:pt x="9335" y="1391610"/>
                  <a:pt x="14478" y="1387895"/>
                </a:cubicBezTo>
                <a:cubicBezTo>
                  <a:pt x="18002" y="1393229"/>
                  <a:pt x="21146" y="1398087"/>
                  <a:pt x="24765" y="1403421"/>
                </a:cubicBezTo>
                <a:cubicBezTo>
                  <a:pt x="19812" y="1406850"/>
                  <a:pt x="15240" y="1409993"/>
                  <a:pt x="9906" y="1413708"/>
                </a:cubicBezTo>
                <a:cubicBezTo>
                  <a:pt x="6572" y="1409326"/>
                  <a:pt x="3429" y="1405135"/>
                  <a:pt x="95" y="1400658"/>
                </a:cubicBezTo>
                <a:close/>
                <a:moveTo>
                  <a:pt x="87821" y="1424090"/>
                </a:moveTo>
                <a:cubicBezTo>
                  <a:pt x="84677" y="1420089"/>
                  <a:pt x="82391" y="1417232"/>
                  <a:pt x="79439" y="1413612"/>
                </a:cubicBezTo>
                <a:cubicBezTo>
                  <a:pt x="83439" y="1410564"/>
                  <a:pt x="87249" y="1407612"/>
                  <a:pt x="91821" y="1404183"/>
                </a:cubicBezTo>
                <a:cubicBezTo>
                  <a:pt x="94488" y="1408183"/>
                  <a:pt x="96965" y="1411898"/>
                  <a:pt x="99536" y="1415803"/>
                </a:cubicBezTo>
                <a:cubicBezTo>
                  <a:pt x="95536" y="1418661"/>
                  <a:pt x="92202" y="1421042"/>
                  <a:pt x="87821" y="1424090"/>
                </a:cubicBezTo>
                <a:close/>
                <a:moveTo>
                  <a:pt x="102680" y="1348461"/>
                </a:moveTo>
                <a:cubicBezTo>
                  <a:pt x="98679" y="1343318"/>
                  <a:pt x="94869" y="1338555"/>
                  <a:pt x="90392" y="1332840"/>
                </a:cubicBezTo>
                <a:cubicBezTo>
                  <a:pt x="95441" y="1328840"/>
                  <a:pt x="100394" y="1324839"/>
                  <a:pt x="105728" y="1320744"/>
                </a:cubicBezTo>
                <a:cubicBezTo>
                  <a:pt x="109633" y="1326649"/>
                  <a:pt x="113252" y="1332078"/>
                  <a:pt x="117634" y="1338746"/>
                </a:cubicBezTo>
                <a:cubicBezTo>
                  <a:pt x="112109" y="1342270"/>
                  <a:pt x="107537" y="1345318"/>
                  <a:pt x="102680" y="1348461"/>
                </a:cubicBezTo>
                <a:close/>
                <a:moveTo>
                  <a:pt x="114586" y="1272547"/>
                </a:moveTo>
                <a:cubicBezTo>
                  <a:pt x="110014" y="1266451"/>
                  <a:pt x="105251" y="1260069"/>
                  <a:pt x="100394" y="1253497"/>
                </a:cubicBezTo>
                <a:cubicBezTo>
                  <a:pt x="106966" y="1248544"/>
                  <a:pt x="113348" y="1243877"/>
                  <a:pt x="120396" y="1238638"/>
                </a:cubicBezTo>
                <a:cubicBezTo>
                  <a:pt x="124682" y="1245020"/>
                  <a:pt x="129159" y="1251687"/>
                  <a:pt x="134207" y="1259403"/>
                </a:cubicBezTo>
                <a:cubicBezTo>
                  <a:pt x="127730" y="1263784"/>
                  <a:pt x="121539" y="1267880"/>
                  <a:pt x="114586" y="1272547"/>
                </a:cubicBezTo>
                <a:close/>
                <a:moveTo>
                  <a:pt x="128397" y="1195490"/>
                </a:moveTo>
                <a:cubicBezTo>
                  <a:pt x="123444" y="1188727"/>
                  <a:pt x="118015" y="1181488"/>
                  <a:pt x="112109" y="1173487"/>
                </a:cubicBezTo>
                <a:cubicBezTo>
                  <a:pt x="119920" y="1167867"/>
                  <a:pt x="127445" y="1162438"/>
                  <a:pt x="134969" y="1156914"/>
                </a:cubicBezTo>
                <a:cubicBezTo>
                  <a:pt x="140113" y="1164343"/>
                  <a:pt x="145637" y="1172249"/>
                  <a:pt x="151067" y="1180250"/>
                </a:cubicBezTo>
                <a:cubicBezTo>
                  <a:pt x="144018" y="1185108"/>
                  <a:pt x="136493" y="1190156"/>
                  <a:pt x="128397" y="1195490"/>
                </a:cubicBezTo>
                <a:close/>
                <a:moveTo>
                  <a:pt x="166688" y="1438758"/>
                </a:moveTo>
                <a:cubicBezTo>
                  <a:pt x="163830" y="1434758"/>
                  <a:pt x="161258" y="1431138"/>
                  <a:pt x="158210" y="1427043"/>
                </a:cubicBezTo>
                <a:cubicBezTo>
                  <a:pt x="162878" y="1423328"/>
                  <a:pt x="166973" y="1419899"/>
                  <a:pt x="171545" y="1416184"/>
                </a:cubicBezTo>
                <a:cubicBezTo>
                  <a:pt x="174689" y="1420470"/>
                  <a:pt x="177451" y="1424185"/>
                  <a:pt x="180975" y="1428947"/>
                </a:cubicBezTo>
                <a:cubicBezTo>
                  <a:pt x="176403" y="1432091"/>
                  <a:pt x="172022" y="1435139"/>
                  <a:pt x="166688" y="1438758"/>
                </a:cubicBezTo>
                <a:close/>
                <a:moveTo>
                  <a:pt x="179927" y="1362272"/>
                </a:moveTo>
                <a:cubicBezTo>
                  <a:pt x="176213" y="1357796"/>
                  <a:pt x="172498" y="1353224"/>
                  <a:pt x="168212" y="1348080"/>
                </a:cubicBezTo>
                <a:cubicBezTo>
                  <a:pt x="173927" y="1343889"/>
                  <a:pt x="179356" y="1339794"/>
                  <a:pt x="185642" y="1335126"/>
                </a:cubicBezTo>
                <a:cubicBezTo>
                  <a:pt x="189262" y="1340841"/>
                  <a:pt x="192215" y="1345604"/>
                  <a:pt x="195358" y="1350652"/>
                </a:cubicBezTo>
                <a:cubicBezTo>
                  <a:pt x="190310" y="1354462"/>
                  <a:pt x="185452" y="1358081"/>
                  <a:pt x="179927" y="1362272"/>
                </a:cubicBezTo>
                <a:close/>
                <a:moveTo>
                  <a:pt x="194310" y="1286739"/>
                </a:moveTo>
                <a:cubicBezTo>
                  <a:pt x="189929" y="1280739"/>
                  <a:pt x="185547" y="1274738"/>
                  <a:pt x="180499" y="1267785"/>
                </a:cubicBezTo>
                <a:cubicBezTo>
                  <a:pt x="186785" y="1263022"/>
                  <a:pt x="193358" y="1258069"/>
                  <a:pt x="199930" y="1253021"/>
                </a:cubicBezTo>
                <a:cubicBezTo>
                  <a:pt x="204311" y="1259593"/>
                  <a:pt x="208693" y="1266261"/>
                  <a:pt x="213551" y="1273500"/>
                </a:cubicBezTo>
                <a:cubicBezTo>
                  <a:pt x="207264" y="1277881"/>
                  <a:pt x="200882" y="1282263"/>
                  <a:pt x="194310" y="1286739"/>
                </a:cubicBezTo>
                <a:close/>
                <a:moveTo>
                  <a:pt x="192310" y="1187870"/>
                </a:moveTo>
                <a:cubicBezTo>
                  <a:pt x="199263" y="1182631"/>
                  <a:pt x="206693" y="1177202"/>
                  <a:pt x="214789" y="1171201"/>
                </a:cubicBezTo>
                <a:cubicBezTo>
                  <a:pt x="220123" y="1179012"/>
                  <a:pt x="225362" y="1186727"/>
                  <a:pt x="230600" y="1194442"/>
                </a:cubicBezTo>
                <a:cubicBezTo>
                  <a:pt x="223457" y="1199205"/>
                  <a:pt x="215741" y="1204348"/>
                  <a:pt x="207931" y="1209492"/>
                </a:cubicBezTo>
                <a:cubicBezTo>
                  <a:pt x="203073" y="1202824"/>
                  <a:pt x="197834" y="1195585"/>
                  <a:pt x="192310" y="1187870"/>
                </a:cubicBezTo>
                <a:close/>
                <a:moveTo>
                  <a:pt x="233077" y="1530484"/>
                </a:moveTo>
                <a:cubicBezTo>
                  <a:pt x="229933" y="1526484"/>
                  <a:pt x="227171" y="1522864"/>
                  <a:pt x="223933" y="1518673"/>
                </a:cubicBezTo>
                <a:cubicBezTo>
                  <a:pt x="228314" y="1515816"/>
                  <a:pt x="232124" y="1513339"/>
                  <a:pt x="236125" y="1510672"/>
                </a:cubicBezTo>
                <a:cubicBezTo>
                  <a:pt x="238982" y="1514768"/>
                  <a:pt x="241364" y="1518197"/>
                  <a:pt x="244126" y="1522293"/>
                </a:cubicBezTo>
                <a:cubicBezTo>
                  <a:pt x="240411" y="1525055"/>
                  <a:pt x="237077" y="1527436"/>
                  <a:pt x="233077" y="1530484"/>
                </a:cubicBezTo>
                <a:close/>
                <a:moveTo>
                  <a:pt x="246317" y="1452855"/>
                </a:moveTo>
                <a:cubicBezTo>
                  <a:pt x="242697" y="1448093"/>
                  <a:pt x="239458" y="1443806"/>
                  <a:pt x="235934" y="1439139"/>
                </a:cubicBezTo>
                <a:cubicBezTo>
                  <a:pt x="240697" y="1435615"/>
                  <a:pt x="245174" y="1432377"/>
                  <a:pt x="250508" y="1428471"/>
                </a:cubicBezTo>
                <a:cubicBezTo>
                  <a:pt x="253841" y="1433139"/>
                  <a:pt x="257080" y="1437520"/>
                  <a:pt x="260985" y="1443045"/>
                </a:cubicBezTo>
                <a:cubicBezTo>
                  <a:pt x="255651" y="1446664"/>
                  <a:pt x="251365" y="1449522"/>
                  <a:pt x="246317" y="1452855"/>
                </a:cubicBezTo>
                <a:close/>
                <a:moveTo>
                  <a:pt x="260033" y="1375798"/>
                </a:moveTo>
                <a:cubicBezTo>
                  <a:pt x="256604" y="1370750"/>
                  <a:pt x="253556" y="1366273"/>
                  <a:pt x="250031" y="1361130"/>
                </a:cubicBezTo>
                <a:cubicBezTo>
                  <a:pt x="254984" y="1357224"/>
                  <a:pt x="259556" y="1353510"/>
                  <a:pt x="265081" y="1349223"/>
                </a:cubicBezTo>
                <a:cubicBezTo>
                  <a:pt x="268605" y="1354557"/>
                  <a:pt x="272034" y="1359701"/>
                  <a:pt x="275558" y="1365130"/>
                </a:cubicBezTo>
                <a:cubicBezTo>
                  <a:pt x="270129" y="1368845"/>
                  <a:pt x="265271" y="1372179"/>
                  <a:pt x="260033" y="1375798"/>
                </a:cubicBezTo>
                <a:close/>
                <a:moveTo>
                  <a:pt x="273844" y="1301122"/>
                </a:moveTo>
                <a:cubicBezTo>
                  <a:pt x="269462" y="1295026"/>
                  <a:pt x="265081" y="1288930"/>
                  <a:pt x="260128" y="1282072"/>
                </a:cubicBezTo>
                <a:cubicBezTo>
                  <a:pt x="266986" y="1277024"/>
                  <a:pt x="273368" y="1272356"/>
                  <a:pt x="279845" y="1267499"/>
                </a:cubicBezTo>
                <a:cubicBezTo>
                  <a:pt x="284512" y="1274357"/>
                  <a:pt x="289179" y="1281310"/>
                  <a:pt x="293751" y="1288073"/>
                </a:cubicBezTo>
                <a:cubicBezTo>
                  <a:pt x="286988" y="1292454"/>
                  <a:pt x="280416" y="1296836"/>
                  <a:pt x="273844" y="1301122"/>
                </a:cubicBezTo>
                <a:close/>
                <a:moveTo>
                  <a:pt x="272129" y="1201967"/>
                </a:moveTo>
                <a:cubicBezTo>
                  <a:pt x="279083" y="1196728"/>
                  <a:pt x="286417" y="1191299"/>
                  <a:pt x="294132" y="1185489"/>
                </a:cubicBezTo>
                <a:cubicBezTo>
                  <a:pt x="299276" y="1192823"/>
                  <a:pt x="304705" y="1200633"/>
                  <a:pt x="310325" y="1208730"/>
                </a:cubicBezTo>
                <a:cubicBezTo>
                  <a:pt x="302705" y="1213778"/>
                  <a:pt x="295085" y="1218826"/>
                  <a:pt x="287655" y="1223684"/>
                </a:cubicBezTo>
                <a:cubicBezTo>
                  <a:pt x="282607" y="1216730"/>
                  <a:pt x="277559" y="1209587"/>
                  <a:pt x="272129" y="1201967"/>
                </a:cubicBezTo>
                <a:close/>
                <a:moveTo>
                  <a:pt x="312325" y="1545724"/>
                </a:moveTo>
                <a:cubicBezTo>
                  <a:pt x="308991" y="1541152"/>
                  <a:pt x="306514" y="1537818"/>
                  <a:pt x="303467" y="1533532"/>
                </a:cubicBezTo>
                <a:cubicBezTo>
                  <a:pt x="307562" y="1530389"/>
                  <a:pt x="311372" y="1527341"/>
                  <a:pt x="315944" y="1523817"/>
                </a:cubicBezTo>
                <a:cubicBezTo>
                  <a:pt x="318897" y="1528103"/>
                  <a:pt x="321469" y="1531818"/>
                  <a:pt x="324612" y="1536294"/>
                </a:cubicBezTo>
                <a:cubicBezTo>
                  <a:pt x="320707" y="1539247"/>
                  <a:pt x="317087" y="1542009"/>
                  <a:pt x="312325" y="1545724"/>
                </a:cubicBezTo>
                <a:close/>
                <a:moveTo>
                  <a:pt x="326231" y="1467524"/>
                </a:moveTo>
                <a:cubicBezTo>
                  <a:pt x="322612" y="1462666"/>
                  <a:pt x="319278" y="1458285"/>
                  <a:pt x="315468" y="1453331"/>
                </a:cubicBezTo>
                <a:cubicBezTo>
                  <a:pt x="320326" y="1449617"/>
                  <a:pt x="324993" y="1445997"/>
                  <a:pt x="330232" y="1441997"/>
                </a:cubicBezTo>
                <a:cubicBezTo>
                  <a:pt x="333756" y="1447236"/>
                  <a:pt x="337090" y="1452189"/>
                  <a:pt x="341090" y="1457999"/>
                </a:cubicBezTo>
                <a:cubicBezTo>
                  <a:pt x="335471" y="1461618"/>
                  <a:pt x="331184" y="1464380"/>
                  <a:pt x="326231" y="1467524"/>
                </a:cubicBezTo>
                <a:close/>
                <a:moveTo>
                  <a:pt x="339471" y="1390467"/>
                </a:moveTo>
                <a:cubicBezTo>
                  <a:pt x="336042" y="1385323"/>
                  <a:pt x="332708" y="1380465"/>
                  <a:pt x="329184" y="1375227"/>
                </a:cubicBezTo>
                <a:cubicBezTo>
                  <a:pt x="334709" y="1370750"/>
                  <a:pt x="339852" y="1366654"/>
                  <a:pt x="345758" y="1361892"/>
                </a:cubicBezTo>
                <a:cubicBezTo>
                  <a:pt x="350044" y="1367797"/>
                  <a:pt x="353568" y="1372750"/>
                  <a:pt x="357569" y="1378275"/>
                </a:cubicBezTo>
                <a:cubicBezTo>
                  <a:pt x="351568" y="1382370"/>
                  <a:pt x="345853" y="1386180"/>
                  <a:pt x="339471" y="1390467"/>
                </a:cubicBezTo>
                <a:close/>
                <a:moveTo>
                  <a:pt x="352901" y="1314267"/>
                </a:moveTo>
                <a:cubicBezTo>
                  <a:pt x="348615" y="1308742"/>
                  <a:pt x="344138" y="1302932"/>
                  <a:pt x="339090" y="1296455"/>
                </a:cubicBezTo>
                <a:cubicBezTo>
                  <a:pt x="345567" y="1291597"/>
                  <a:pt x="352235" y="1286644"/>
                  <a:pt x="359474" y="1281215"/>
                </a:cubicBezTo>
                <a:cubicBezTo>
                  <a:pt x="363379" y="1287120"/>
                  <a:pt x="367475" y="1293216"/>
                  <a:pt x="372047" y="1299979"/>
                </a:cubicBezTo>
                <a:cubicBezTo>
                  <a:pt x="365379" y="1305027"/>
                  <a:pt x="359378" y="1309504"/>
                  <a:pt x="352901" y="1314267"/>
                </a:cubicBezTo>
                <a:close/>
                <a:moveTo>
                  <a:pt x="351473" y="1216350"/>
                </a:moveTo>
                <a:cubicBezTo>
                  <a:pt x="358712" y="1210920"/>
                  <a:pt x="366427" y="1205205"/>
                  <a:pt x="374047" y="1199490"/>
                </a:cubicBezTo>
                <a:cubicBezTo>
                  <a:pt x="379571" y="1207491"/>
                  <a:pt x="385096" y="1215492"/>
                  <a:pt x="390430" y="1223303"/>
                </a:cubicBezTo>
                <a:cubicBezTo>
                  <a:pt x="383191" y="1228161"/>
                  <a:pt x="375380" y="1233304"/>
                  <a:pt x="367284" y="1238638"/>
                </a:cubicBezTo>
                <a:cubicBezTo>
                  <a:pt x="362522" y="1231780"/>
                  <a:pt x="357188" y="1224255"/>
                  <a:pt x="351473" y="1216350"/>
                </a:cubicBezTo>
                <a:close/>
                <a:moveTo>
                  <a:pt x="391859" y="1560583"/>
                </a:moveTo>
                <a:cubicBezTo>
                  <a:pt x="388334" y="1555725"/>
                  <a:pt x="385382" y="1551630"/>
                  <a:pt x="382143" y="1547248"/>
                </a:cubicBezTo>
                <a:cubicBezTo>
                  <a:pt x="386715" y="1543819"/>
                  <a:pt x="390811" y="1540676"/>
                  <a:pt x="395478" y="1537247"/>
                </a:cubicBezTo>
                <a:cubicBezTo>
                  <a:pt x="398621" y="1541628"/>
                  <a:pt x="401574" y="1545724"/>
                  <a:pt x="405575" y="1551153"/>
                </a:cubicBezTo>
                <a:cubicBezTo>
                  <a:pt x="401193" y="1554201"/>
                  <a:pt x="396812" y="1557154"/>
                  <a:pt x="391859" y="1560583"/>
                </a:cubicBezTo>
                <a:close/>
                <a:moveTo>
                  <a:pt x="405575" y="1482954"/>
                </a:moveTo>
                <a:cubicBezTo>
                  <a:pt x="401860" y="1477906"/>
                  <a:pt x="398240" y="1473048"/>
                  <a:pt x="394240" y="1467619"/>
                </a:cubicBezTo>
                <a:cubicBezTo>
                  <a:pt x="399479" y="1463619"/>
                  <a:pt x="404527" y="1459809"/>
                  <a:pt x="410147" y="1455522"/>
                </a:cubicBezTo>
                <a:cubicBezTo>
                  <a:pt x="413861" y="1460952"/>
                  <a:pt x="417386" y="1466286"/>
                  <a:pt x="421481" y="1472286"/>
                </a:cubicBezTo>
                <a:cubicBezTo>
                  <a:pt x="415481" y="1476382"/>
                  <a:pt x="410909" y="1479430"/>
                  <a:pt x="405575" y="1482954"/>
                </a:cubicBezTo>
                <a:close/>
                <a:moveTo>
                  <a:pt x="419386" y="1405230"/>
                </a:moveTo>
                <a:cubicBezTo>
                  <a:pt x="415195" y="1399420"/>
                  <a:pt x="410909" y="1393705"/>
                  <a:pt x="406241" y="1387323"/>
                </a:cubicBezTo>
                <a:cubicBezTo>
                  <a:pt x="412909" y="1382275"/>
                  <a:pt x="418814" y="1377894"/>
                  <a:pt x="424625" y="1373512"/>
                </a:cubicBezTo>
                <a:cubicBezTo>
                  <a:pt x="428911" y="1379703"/>
                  <a:pt x="433007" y="1385895"/>
                  <a:pt x="437769" y="1392848"/>
                </a:cubicBezTo>
                <a:cubicBezTo>
                  <a:pt x="431959" y="1396753"/>
                  <a:pt x="425958" y="1400754"/>
                  <a:pt x="419386" y="1405230"/>
                </a:cubicBezTo>
                <a:close/>
                <a:moveTo>
                  <a:pt x="432816" y="1328554"/>
                </a:moveTo>
                <a:cubicBezTo>
                  <a:pt x="428625" y="1322077"/>
                  <a:pt x="424339" y="1315505"/>
                  <a:pt x="420243" y="1309314"/>
                </a:cubicBezTo>
                <a:cubicBezTo>
                  <a:pt x="426625" y="1304361"/>
                  <a:pt x="432530" y="1299789"/>
                  <a:pt x="439103" y="1294645"/>
                </a:cubicBezTo>
                <a:cubicBezTo>
                  <a:pt x="443389" y="1301027"/>
                  <a:pt x="447865" y="1307789"/>
                  <a:pt x="452342" y="1314457"/>
                </a:cubicBezTo>
                <a:cubicBezTo>
                  <a:pt x="445770" y="1319220"/>
                  <a:pt x="439388" y="1323792"/>
                  <a:pt x="432816" y="1328554"/>
                </a:cubicBezTo>
                <a:close/>
                <a:moveTo>
                  <a:pt x="430339" y="1230256"/>
                </a:moveTo>
                <a:cubicBezTo>
                  <a:pt x="437960" y="1224731"/>
                  <a:pt x="445770" y="1219017"/>
                  <a:pt x="453771" y="1213302"/>
                </a:cubicBezTo>
                <a:cubicBezTo>
                  <a:pt x="459677" y="1221684"/>
                  <a:pt x="465201" y="1229685"/>
                  <a:pt x="470726" y="1237400"/>
                </a:cubicBezTo>
                <a:cubicBezTo>
                  <a:pt x="463106" y="1242543"/>
                  <a:pt x="454724" y="1248163"/>
                  <a:pt x="446627" y="1253592"/>
                </a:cubicBezTo>
                <a:cubicBezTo>
                  <a:pt x="441484" y="1246258"/>
                  <a:pt x="435959" y="1238257"/>
                  <a:pt x="430339" y="1230256"/>
                </a:cubicBezTo>
                <a:close/>
                <a:moveTo>
                  <a:pt x="471583" y="1576109"/>
                </a:moveTo>
                <a:cubicBezTo>
                  <a:pt x="467773" y="1571156"/>
                  <a:pt x="464249" y="1566393"/>
                  <a:pt x="460439" y="1561345"/>
                </a:cubicBezTo>
                <a:cubicBezTo>
                  <a:pt x="466344" y="1557059"/>
                  <a:pt x="470821" y="1553725"/>
                  <a:pt x="475679" y="1550201"/>
                </a:cubicBezTo>
                <a:cubicBezTo>
                  <a:pt x="479203" y="1555344"/>
                  <a:pt x="482537" y="1560297"/>
                  <a:pt x="486347" y="1565917"/>
                </a:cubicBezTo>
                <a:cubicBezTo>
                  <a:pt x="481298" y="1569346"/>
                  <a:pt x="476822" y="1572394"/>
                  <a:pt x="471583" y="1576109"/>
                </a:cubicBezTo>
                <a:close/>
                <a:moveTo>
                  <a:pt x="485013" y="1498385"/>
                </a:moveTo>
                <a:cubicBezTo>
                  <a:pt x="480917" y="1492765"/>
                  <a:pt x="477012" y="1487622"/>
                  <a:pt x="472821" y="1481811"/>
                </a:cubicBezTo>
                <a:cubicBezTo>
                  <a:pt x="478250" y="1477620"/>
                  <a:pt x="483775" y="1473525"/>
                  <a:pt x="490061" y="1468762"/>
                </a:cubicBezTo>
                <a:cubicBezTo>
                  <a:pt x="494348" y="1475048"/>
                  <a:pt x="498062" y="1480383"/>
                  <a:pt x="502444" y="1486669"/>
                </a:cubicBezTo>
                <a:cubicBezTo>
                  <a:pt x="496824" y="1490479"/>
                  <a:pt x="491204" y="1494194"/>
                  <a:pt x="485013" y="1498385"/>
                </a:cubicBezTo>
                <a:close/>
                <a:moveTo>
                  <a:pt x="498729" y="1420566"/>
                </a:moveTo>
                <a:cubicBezTo>
                  <a:pt x="494348" y="1414374"/>
                  <a:pt x="489871" y="1408088"/>
                  <a:pt x="485204" y="1401516"/>
                </a:cubicBezTo>
                <a:cubicBezTo>
                  <a:pt x="491585" y="1396658"/>
                  <a:pt x="497872" y="1391991"/>
                  <a:pt x="504539" y="1386942"/>
                </a:cubicBezTo>
                <a:cubicBezTo>
                  <a:pt x="509588" y="1394277"/>
                  <a:pt x="514064" y="1400849"/>
                  <a:pt x="518636" y="1407516"/>
                </a:cubicBezTo>
                <a:cubicBezTo>
                  <a:pt x="512159" y="1411707"/>
                  <a:pt x="505778" y="1415994"/>
                  <a:pt x="498729" y="1420566"/>
                </a:cubicBezTo>
                <a:close/>
                <a:moveTo>
                  <a:pt x="512445" y="1343508"/>
                </a:moveTo>
                <a:cubicBezTo>
                  <a:pt x="508159" y="1337127"/>
                  <a:pt x="503777" y="1330459"/>
                  <a:pt x="499110" y="1323411"/>
                </a:cubicBezTo>
                <a:cubicBezTo>
                  <a:pt x="505397" y="1318648"/>
                  <a:pt x="511588" y="1313886"/>
                  <a:pt x="517874" y="1309028"/>
                </a:cubicBezTo>
                <a:cubicBezTo>
                  <a:pt x="523208" y="1315981"/>
                  <a:pt x="528161" y="1322268"/>
                  <a:pt x="533210" y="1328745"/>
                </a:cubicBezTo>
                <a:cubicBezTo>
                  <a:pt x="526733" y="1333412"/>
                  <a:pt x="519970" y="1338270"/>
                  <a:pt x="512445" y="1343508"/>
                </a:cubicBezTo>
                <a:close/>
                <a:moveTo>
                  <a:pt x="524637" y="1264641"/>
                </a:moveTo>
                <a:cubicBezTo>
                  <a:pt x="519398" y="1257974"/>
                  <a:pt x="514160" y="1251211"/>
                  <a:pt x="508826" y="1244448"/>
                </a:cubicBezTo>
                <a:cubicBezTo>
                  <a:pt x="516541" y="1239114"/>
                  <a:pt x="524161" y="1233876"/>
                  <a:pt x="531971" y="1228542"/>
                </a:cubicBezTo>
                <a:cubicBezTo>
                  <a:pt x="536448" y="1235209"/>
                  <a:pt x="541211" y="1242353"/>
                  <a:pt x="546259" y="1249782"/>
                </a:cubicBezTo>
                <a:cubicBezTo>
                  <a:pt x="538639" y="1255021"/>
                  <a:pt x="531781" y="1259784"/>
                  <a:pt x="524637" y="1264641"/>
                </a:cubicBezTo>
                <a:close/>
                <a:moveTo>
                  <a:pt x="519779" y="1163962"/>
                </a:moveTo>
                <a:cubicBezTo>
                  <a:pt x="528257" y="1157485"/>
                  <a:pt x="537401" y="1150437"/>
                  <a:pt x="545592" y="1144150"/>
                </a:cubicBezTo>
                <a:cubicBezTo>
                  <a:pt x="551593" y="1153199"/>
                  <a:pt x="558260" y="1163391"/>
                  <a:pt x="564737" y="1173297"/>
                </a:cubicBezTo>
                <a:cubicBezTo>
                  <a:pt x="556927" y="1177964"/>
                  <a:pt x="547878" y="1183488"/>
                  <a:pt x="539401" y="1188537"/>
                </a:cubicBezTo>
                <a:cubicBezTo>
                  <a:pt x="532543" y="1180059"/>
                  <a:pt x="525685" y="1171392"/>
                  <a:pt x="519779" y="1163962"/>
                </a:cubicBezTo>
                <a:close/>
                <a:moveTo>
                  <a:pt x="564642" y="1514387"/>
                </a:moveTo>
                <a:cubicBezTo>
                  <a:pt x="560165" y="1508196"/>
                  <a:pt x="555784" y="1502004"/>
                  <a:pt x="551117" y="1495432"/>
                </a:cubicBezTo>
                <a:cubicBezTo>
                  <a:pt x="556451" y="1491717"/>
                  <a:pt x="561785" y="1488003"/>
                  <a:pt x="567881" y="1483716"/>
                </a:cubicBezTo>
                <a:cubicBezTo>
                  <a:pt x="572738" y="1490098"/>
                  <a:pt x="576929" y="1495622"/>
                  <a:pt x="581692" y="1501909"/>
                </a:cubicBezTo>
                <a:cubicBezTo>
                  <a:pt x="576453" y="1505719"/>
                  <a:pt x="571024" y="1509720"/>
                  <a:pt x="564642" y="1514387"/>
                </a:cubicBezTo>
                <a:close/>
                <a:moveTo>
                  <a:pt x="577406" y="1434091"/>
                </a:moveTo>
                <a:cubicBezTo>
                  <a:pt x="572834" y="1428186"/>
                  <a:pt x="568357" y="1422185"/>
                  <a:pt x="563118" y="1415422"/>
                </a:cubicBezTo>
                <a:cubicBezTo>
                  <a:pt x="569881" y="1410755"/>
                  <a:pt x="576072" y="1406564"/>
                  <a:pt x="582454" y="1402182"/>
                </a:cubicBezTo>
                <a:cubicBezTo>
                  <a:pt x="587502" y="1408850"/>
                  <a:pt x="592455" y="1415422"/>
                  <a:pt x="597408" y="1421994"/>
                </a:cubicBezTo>
                <a:cubicBezTo>
                  <a:pt x="590836" y="1425995"/>
                  <a:pt x="584168" y="1430091"/>
                  <a:pt x="577406" y="1434091"/>
                </a:cubicBezTo>
                <a:close/>
                <a:moveTo>
                  <a:pt x="591217" y="1356558"/>
                </a:moveTo>
                <a:cubicBezTo>
                  <a:pt x="585407" y="1348938"/>
                  <a:pt x="579977" y="1341889"/>
                  <a:pt x="574548" y="1334745"/>
                </a:cubicBezTo>
                <a:cubicBezTo>
                  <a:pt x="581597" y="1329411"/>
                  <a:pt x="588836" y="1323887"/>
                  <a:pt x="595979" y="1318553"/>
                </a:cubicBezTo>
                <a:cubicBezTo>
                  <a:pt x="601790" y="1326744"/>
                  <a:pt x="607505" y="1335031"/>
                  <a:pt x="613220" y="1343127"/>
                </a:cubicBezTo>
                <a:cubicBezTo>
                  <a:pt x="606362" y="1347318"/>
                  <a:pt x="598932" y="1351890"/>
                  <a:pt x="591217" y="1356558"/>
                </a:cubicBezTo>
                <a:close/>
                <a:moveTo>
                  <a:pt x="602742" y="1281405"/>
                </a:moveTo>
                <a:cubicBezTo>
                  <a:pt x="597884" y="1274071"/>
                  <a:pt x="592550" y="1265880"/>
                  <a:pt x="587121" y="1257593"/>
                </a:cubicBezTo>
                <a:cubicBezTo>
                  <a:pt x="594646" y="1251687"/>
                  <a:pt x="602742" y="1245305"/>
                  <a:pt x="610838" y="1239019"/>
                </a:cubicBezTo>
                <a:cubicBezTo>
                  <a:pt x="615696" y="1247020"/>
                  <a:pt x="620840" y="1255497"/>
                  <a:pt x="626269" y="1264451"/>
                </a:cubicBezTo>
                <a:cubicBezTo>
                  <a:pt x="618554" y="1270071"/>
                  <a:pt x="610648" y="1275786"/>
                  <a:pt x="602742" y="1281405"/>
                </a:cubicBezTo>
                <a:close/>
                <a:moveTo>
                  <a:pt x="596932" y="1178630"/>
                </a:moveTo>
                <a:cubicBezTo>
                  <a:pt x="606171" y="1171677"/>
                  <a:pt x="616553" y="1163867"/>
                  <a:pt x="625316" y="1157199"/>
                </a:cubicBezTo>
                <a:cubicBezTo>
                  <a:pt x="631508" y="1166724"/>
                  <a:pt x="638461" y="1177297"/>
                  <a:pt x="645128" y="1187394"/>
                </a:cubicBezTo>
                <a:cubicBezTo>
                  <a:pt x="636651" y="1192918"/>
                  <a:pt x="626650" y="1199395"/>
                  <a:pt x="616649" y="1205872"/>
                </a:cubicBezTo>
                <a:cubicBezTo>
                  <a:pt x="610457" y="1197395"/>
                  <a:pt x="603314" y="1187489"/>
                  <a:pt x="596932" y="1178630"/>
                </a:cubicBezTo>
                <a:close/>
                <a:moveTo>
                  <a:pt x="642747" y="1528008"/>
                </a:moveTo>
                <a:cubicBezTo>
                  <a:pt x="637985" y="1521721"/>
                  <a:pt x="633317" y="1515530"/>
                  <a:pt x="628174" y="1508767"/>
                </a:cubicBezTo>
                <a:cubicBezTo>
                  <a:pt x="634365" y="1504005"/>
                  <a:pt x="640556" y="1499337"/>
                  <a:pt x="646748" y="1494575"/>
                </a:cubicBezTo>
                <a:cubicBezTo>
                  <a:pt x="652082" y="1501814"/>
                  <a:pt x="657225" y="1508862"/>
                  <a:pt x="662464" y="1515911"/>
                </a:cubicBezTo>
                <a:cubicBezTo>
                  <a:pt x="656082" y="1519816"/>
                  <a:pt x="649415" y="1523912"/>
                  <a:pt x="642747" y="1528008"/>
                </a:cubicBezTo>
                <a:close/>
                <a:moveTo>
                  <a:pt x="654653" y="1452189"/>
                </a:moveTo>
                <a:cubicBezTo>
                  <a:pt x="649700" y="1444950"/>
                  <a:pt x="644652" y="1437615"/>
                  <a:pt x="639223" y="1429614"/>
                </a:cubicBezTo>
                <a:cubicBezTo>
                  <a:pt x="646271" y="1424280"/>
                  <a:pt x="653796" y="1418565"/>
                  <a:pt x="661321" y="1412946"/>
                </a:cubicBezTo>
                <a:cubicBezTo>
                  <a:pt x="667036" y="1421042"/>
                  <a:pt x="672560" y="1428947"/>
                  <a:pt x="677894" y="1436663"/>
                </a:cubicBezTo>
                <a:cubicBezTo>
                  <a:pt x="670560" y="1441521"/>
                  <a:pt x="662750" y="1446759"/>
                  <a:pt x="654653" y="1452189"/>
                </a:cubicBezTo>
                <a:close/>
                <a:moveTo>
                  <a:pt x="668274" y="1374179"/>
                </a:moveTo>
                <a:cubicBezTo>
                  <a:pt x="663035" y="1366654"/>
                  <a:pt x="657225" y="1358272"/>
                  <a:pt x="651320" y="1349795"/>
                </a:cubicBezTo>
                <a:cubicBezTo>
                  <a:pt x="659225" y="1343985"/>
                  <a:pt x="667607" y="1337698"/>
                  <a:pt x="675894" y="1331507"/>
                </a:cubicBezTo>
                <a:cubicBezTo>
                  <a:pt x="682085" y="1340270"/>
                  <a:pt x="688181" y="1348938"/>
                  <a:pt x="693992" y="1357224"/>
                </a:cubicBezTo>
                <a:cubicBezTo>
                  <a:pt x="685800" y="1362558"/>
                  <a:pt x="676942" y="1368369"/>
                  <a:pt x="668274" y="1374179"/>
                </a:cubicBezTo>
                <a:close/>
                <a:moveTo>
                  <a:pt x="720090" y="1546200"/>
                </a:moveTo>
                <a:cubicBezTo>
                  <a:pt x="715232" y="1539152"/>
                  <a:pt x="710089" y="1531627"/>
                  <a:pt x="704564" y="1523436"/>
                </a:cubicBezTo>
                <a:cubicBezTo>
                  <a:pt x="711994" y="1517911"/>
                  <a:pt x="719138" y="1512577"/>
                  <a:pt x="726567" y="1507053"/>
                </a:cubicBezTo>
                <a:cubicBezTo>
                  <a:pt x="731806" y="1514387"/>
                  <a:pt x="737426" y="1522197"/>
                  <a:pt x="743331" y="1530389"/>
                </a:cubicBezTo>
                <a:cubicBezTo>
                  <a:pt x="736092" y="1535342"/>
                  <a:pt x="728186" y="1540771"/>
                  <a:pt x="720090" y="1546200"/>
                </a:cubicBezTo>
                <a:close/>
                <a:moveTo>
                  <a:pt x="733806" y="1467714"/>
                </a:moveTo>
                <a:cubicBezTo>
                  <a:pt x="728567" y="1460189"/>
                  <a:pt x="722852" y="1451903"/>
                  <a:pt x="717042" y="1443616"/>
                </a:cubicBezTo>
                <a:cubicBezTo>
                  <a:pt x="724948" y="1437806"/>
                  <a:pt x="733235" y="1431805"/>
                  <a:pt x="741426" y="1425804"/>
                </a:cubicBezTo>
                <a:cubicBezTo>
                  <a:pt x="746951" y="1433710"/>
                  <a:pt x="752951" y="1442283"/>
                  <a:pt x="759143" y="1451046"/>
                </a:cubicBezTo>
                <a:cubicBezTo>
                  <a:pt x="750856" y="1456570"/>
                  <a:pt x="742188" y="1462190"/>
                  <a:pt x="733806" y="1467714"/>
                </a:cubicBezTo>
                <a:close/>
                <a:moveTo>
                  <a:pt x="747903" y="1389990"/>
                </a:moveTo>
                <a:cubicBezTo>
                  <a:pt x="741998" y="1381513"/>
                  <a:pt x="735425" y="1372083"/>
                  <a:pt x="729520" y="1363606"/>
                </a:cubicBezTo>
                <a:cubicBezTo>
                  <a:pt x="738283" y="1357034"/>
                  <a:pt x="747427" y="1350176"/>
                  <a:pt x="755999" y="1343794"/>
                </a:cubicBezTo>
                <a:cubicBezTo>
                  <a:pt x="761810" y="1352557"/>
                  <a:pt x="768477" y="1362558"/>
                  <a:pt x="774668" y="1371893"/>
                </a:cubicBezTo>
                <a:cubicBezTo>
                  <a:pt x="765810" y="1377894"/>
                  <a:pt x="756571" y="1384085"/>
                  <a:pt x="747903" y="1389990"/>
                </a:cubicBezTo>
                <a:close/>
                <a:moveTo>
                  <a:pt x="741236" y="1283882"/>
                </a:moveTo>
                <a:cubicBezTo>
                  <a:pt x="750951" y="1276547"/>
                  <a:pt x="761714" y="1268451"/>
                  <a:pt x="770477" y="1261879"/>
                </a:cubicBezTo>
                <a:cubicBezTo>
                  <a:pt x="776764" y="1271309"/>
                  <a:pt x="784384" y="1282644"/>
                  <a:pt x="791432" y="1293216"/>
                </a:cubicBezTo>
                <a:cubicBezTo>
                  <a:pt x="782669" y="1298646"/>
                  <a:pt x="771716" y="1305504"/>
                  <a:pt x="761429" y="1311885"/>
                </a:cubicBezTo>
                <a:cubicBezTo>
                  <a:pt x="755047" y="1302837"/>
                  <a:pt x="747522" y="1292454"/>
                  <a:pt x="741236" y="1283882"/>
                </a:cubicBezTo>
                <a:close/>
                <a:moveTo>
                  <a:pt x="799148" y="1562107"/>
                </a:moveTo>
                <a:cubicBezTo>
                  <a:pt x="793623" y="1554011"/>
                  <a:pt x="787813" y="1545629"/>
                  <a:pt x="782288" y="1537628"/>
                </a:cubicBezTo>
                <a:cubicBezTo>
                  <a:pt x="790670" y="1531341"/>
                  <a:pt x="799243" y="1525055"/>
                  <a:pt x="806768" y="1519435"/>
                </a:cubicBezTo>
                <a:cubicBezTo>
                  <a:pt x="812864" y="1528008"/>
                  <a:pt x="818960" y="1536675"/>
                  <a:pt x="824865" y="1545057"/>
                </a:cubicBezTo>
                <a:cubicBezTo>
                  <a:pt x="816864" y="1550391"/>
                  <a:pt x="808006" y="1556202"/>
                  <a:pt x="799148" y="1562107"/>
                </a:cubicBezTo>
                <a:close/>
                <a:moveTo>
                  <a:pt x="813245" y="1483812"/>
                </a:moveTo>
                <a:cubicBezTo>
                  <a:pt x="807529" y="1475525"/>
                  <a:pt x="801243" y="1466381"/>
                  <a:pt x="795052" y="1457522"/>
                </a:cubicBezTo>
                <a:cubicBezTo>
                  <a:pt x="803815" y="1450950"/>
                  <a:pt x="813245" y="1443806"/>
                  <a:pt x="821341" y="1437711"/>
                </a:cubicBezTo>
                <a:cubicBezTo>
                  <a:pt x="827627" y="1446950"/>
                  <a:pt x="834200" y="1456665"/>
                  <a:pt x="840486" y="1465809"/>
                </a:cubicBezTo>
                <a:cubicBezTo>
                  <a:pt x="831818" y="1471620"/>
                  <a:pt x="822198" y="1477906"/>
                  <a:pt x="813245" y="1483812"/>
                </a:cubicBezTo>
                <a:close/>
                <a:moveTo>
                  <a:pt x="878396" y="1578014"/>
                </a:moveTo>
                <a:cubicBezTo>
                  <a:pt x="872490" y="1569346"/>
                  <a:pt x="865918" y="1559916"/>
                  <a:pt x="860012" y="1551439"/>
                </a:cubicBezTo>
                <a:cubicBezTo>
                  <a:pt x="869061" y="1544581"/>
                  <a:pt x="878586" y="1537342"/>
                  <a:pt x="886777" y="1531055"/>
                </a:cubicBezTo>
                <a:cubicBezTo>
                  <a:pt x="892874" y="1540104"/>
                  <a:pt x="899732" y="1550201"/>
                  <a:pt x="906113" y="1559821"/>
                </a:cubicBezTo>
                <a:cubicBezTo>
                  <a:pt x="896969" y="1565822"/>
                  <a:pt x="887444" y="1572108"/>
                  <a:pt x="878396" y="1578014"/>
                </a:cubicBezTo>
                <a:close/>
                <a:moveTo>
                  <a:pt x="892207" y="1499718"/>
                </a:moveTo>
                <a:cubicBezTo>
                  <a:pt x="886016" y="1490955"/>
                  <a:pt x="878681" y="1480478"/>
                  <a:pt x="872300" y="1471334"/>
                </a:cubicBezTo>
                <a:cubicBezTo>
                  <a:pt x="881634" y="1464476"/>
                  <a:pt x="892112" y="1456761"/>
                  <a:pt x="901446" y="1449998"/>
                </a:cubicBezTo>
                <a:cubicBezTo>
                  <a:pt x="907637" y="1459142"/>
                  <a:pt x="915352" y="1470572"/>
                  <a:pt x="922401" y="1480859"/>
                </a:cubicBezTo>
                <a:cubicBezTo>
                  <a:pt x="913162" y="1486574"/>
                  <a:pt x="902399" y="1493432"/>
                  <a:pt x="892207" y="1499718"/>
                </a:cubicBezTo>
                <a:close/>
                <a:moveTo>
                  <a:pt x="982885" y="1460856"/>
                </a:moveTo>
                <a:cubicBezTo>
                  <a:pt x="984885" y="1475048"/>
                  <a:pt x="992981" y="1488479"/>
                  <a:pt x="1007650" y="1494098"/>
                </a:cubicBezTo>
                <a:cubicBezTo>
                  <a:pt x="995648" y="1501338"/>
                  <a:pt x="982409" y="1509243"/>
                  <a:pt x="971074" y="1516006"/>
                </a:cubicBezTo>
                <a:cubicBezTo>
                  <a:pt x="964502" y="1506576"/>
                  <a:pt x="956310" y="1494765"/>
                  <a:pt x="949928" y="1485526"/>
                </a:cubicBezTo>
                <a:cubicBezTo>
                  <a:pt x="959834" y="1478097"/>
                  <a:pt x="971741" y="1469238"/>
                  <a:pt x="982885" y="1460856"/>
                </a:cubicBezTo>
                <a:close/>
                <a:moveTo>
                  <a:pt x="915448" y="1368940"/>
                </a:moveTo>
                <a:cubicBezTo>
                  <a:pt x="922592" y="1378941"/>
                  <a:pt x="931545" y="1391419"/>
                  <a:pt x="938975" y="1401706"/>
                </a:cubicBezTo>
                <a:cubicBezTo>
                  <a:pt x="929640" y="1407326"/>
                  <a:pt x="916686" y="1415136"/>
                  <a:pt x="905827" y="1421709"/>
                </a:cubicBezTo>
                <a:cubicBezTo>
                  <a:pt x="899065" y="1412088"/>
                  <a:pt x="891064" y="1400658"/>
                  <a:pt x="884777" y="1391610"/>
                </a:cubicBezTo>
                <a:cubicBezTo>
                  <a:pt x="894398" y="1384466"/>
                  <a:pt x="906018" y="1375893"/>
                  <a:pt x="915448" y="1368940"/>
                </a:cubicBezTo>
                <a:close/>
                <a:moveTo>
                  <a:pt x="852011" y="1273404"/>
                </a:moveTo>
                <a:cubicBezTo>
                  <a:pt x="853726" y="1287501"/>
                  <a:pt x="862203" y="1300741"/>
                  <a:pt x="875729" y="1306361"/>
                </a:cubicBezTo>
                <a:cubicBezTo>
                  <a:pt x="864203" y="1313409"/>
                  <a:pt x="851535" y="1321125"/>
                  <a:pt x="840772" y="1327697"/>
                </a:cubicBezTo>
                <a:cubicBezTo>
                  <a:pt x="833819" y="1317981"/>
                  <a:pt x="825818" y="1306932"/>
                  <a:pt x="819150" y="1297693"/>
                </a:cubicBezTo>
                <a:cubicBezTo>
                  <a:pt x="828961" y="1290454"/>
                  <a:pt x="840867" y="1281691"/>
                  <a:pt x="852011" y="1273404"/>
                </a:cubicBezTo>
                <a:close/>
                <a:moveTo>
                  <a:pt x="835914" y="1356081"/>
                </a:moveTo>
                <a:cubicBezTo>
                  <a:pt x="842201" y="1365416"/>
                  <a:pt x="849821" y="1376560"/>
                  <a:pt x="856679" y="1386752"/>
                </a:cubicBezTo>
                <a:cubicBezTo>
                  <a:pt x="847439" y="1392562"/>
                  <a:pt x="836771" y="1399325"/>
                  <a:pt x="827056" y="1405516"/>
                </a:cubicBezTo>
                <a:cubicBezTo>
                  <a:pt x="820674" y="1396563"/>
                  <a:pt x="813530" y="1386466"/>
                  <a:pt x="807244" y="1377608"/>
                </a:cubicBezTo>
                <a:cubicBezTo>
                  <a:pt x="816674" y="1370559"/>
                  <a:pt x="827151" y="1362749"/>
                  <a:pt x="835914" y="1356081"/>
                </a:cubicBezTo>
                <a:close/>
                <a:moveTo>
                  <a:pt x="785051" y="1182250"/>
                </a:moveTo>
                <a:cubicBezTo>
                  <a:pt x="790861" y="1192061"/>
                  <a:pt x="798004" y="1204062"/>
                  <a:pt x="804196" y="1214445"/>
                </a:cubicBezTo>
                <a:cubicBezTo>
                  <a:pt x="795528" y="1220731"/>
                  <a:pt x="784765" y="1228446"/>
                  <a:pt x="774859" y="1235590"/>
                </a:cubicBezTo>
                <a:cubicBezTo>
                  <a:pt x="769334" y="1226541"/>
                  <a:pt x="762667" y="1215588"/>
                  <a:pt x="756952" y="1206158"/>
                </a:cubicBezTo>
                <a:cubicBezTo>
                  <a:pt x="766001" y="1198443"/>
                  <a:pt x="776478" y="1189584"/>
                  <a:pt x="785051" y="1182250"/>
                </a:cubicBezTo>
                <a:close/>
                <a:moveTo>
                  <a:pt x="719328" y="1077189"/>
                </a:moveTo>
                <a:cubicBezTo>
                  <a:pt x="721709" y="1085762"/>
                  <a:pt x="722471" y="1095382"/>
                  <a:pt x="727043" y="1102621"/>
                </a:cubicBezTo>
                <a:cubicBezTo>
                  <a:pt x="732568" y="1111289"/>
                  <a:pt x="741426" y="1117861"/>
                  <a:pt x="747998" y="1124433"/>
                </a:cubicBezTo>
                <a:cubicBezTo>
                  <a:pt x="731806" y="1124338"/>
                  <a:pt x="717995" y="1133292"/>
                  <a:pt x="711041" y="1146436"/>
                </a:cubicBezTo>
                <a:cubicBezTo>
                  <a:pt x="702564" y="1134625"/>
                  <a:pt x="693706" y="1122243"/>
                  <a:pt x="685514" y="1110813"/>
                </a:cubicBezTo>
                <a:cubicBezTo>
                  <a:pt x="701135" y="1107288"/>
                  <a:pt x="717328" y="1099764"/>
                  <a:pt x="719328" y="1077189"/>
                </a:cubicBezTo>
                <a:close/>
                <a:moveTo>
                  <a:pt x="705802" y="1169677"/>
                </a:moveTo>
                <a:cubicBezTo>
                  <a:pt x="710660" y="1178154"/>
                  <a:pt x="717137" y="1189489"/>
                  <a:pt x="723233" y="1200157"/>
                </a:cubicBezTo>
                <a:cubicBezTo>
                  <a:pt x="714661" y="1206348"/>
                  <a:pt x="704469" y="1213683"/>
                  <a:pt x="695611" y="1220160"/>
                </a:cubicBezTo>
                <a:cubicBezTo>
                  <a:pt x="688848" y="1211111"/>
                  <a:pt x="681419" y="1201205"/>
                  <a:pt x="675227" y="1192823"/>
                </a:cubicBezTo>
                <a:cubicBezTo>
                  <a:pt x="684752" y="1185489"/>
                  <a:pt x="695897" y="1177106"/>
                  <a:pt x="705802" y="1169677"/>
                </a:cubicBezTo>
                <a:close/>
                <a:moveTo>
                  <a:pt x="691229" y="1251116"/>
                </a:moveTo>
                <a:cubicBezTo>
                  <a:pt x="697040" y="1259307"/>
                  <a:pt x="703612" y="1268737"/>
                  <a:pt x="710184" y="1278072"/>
                </a:cubicBezTo>
                <a:cubicBezTo>
                  <a:pt x="701326" y="1283882"/>
                  <a:pt x="691706" y="1290264"/>
                  <a:pt x="682085" y="1296550"/>
                </a:cubicBezTo>
                <a:cubicBezTo>
                  <a:pt x="677132" y="1288930"/>
                  <a:pt x="671322" y="1280167"/>
                  <a:pt x="665893" y="1271785"/>
                </a:cubicBezTo>
                <a:cubicBezTo>
                  <a:pt x="674179" y="1265022"/>
                  <a:pt x="683324" y="1257497"/>
                  <a:pt x="691229" y="1251116"/>
                </a:cubicBezTo>
                <a:close/>
                <a:moveTo>
                  <a:pt x="639985" y="1075665"/>
                </a:moveTo>
                <a:cubicBezTo>
                  <a:pt x="646748" y="1085571"/>
                  <a:pt x="655511" y="1098335"/>
                  <a:pt x="662464" y="1108527"/>
                </a:cubicBezTo>
                <a:cubicBezTo>
                  <a:pt x="652748" y="1114622"/>
                  <a:pt x="640556" y="1122338"/>
                  <a:pt x="630079" y="1128910"/>
                </a:cubicBezTo>
                <a:cubicBezTo>
                  <a:pt x="623507" y="1119576"/>
                  <a:pt x="615410" y="1108146"/>
                  <a:pt x="608648" y="1098525"/>
                </a:cubicBezTo>
                <a:cubicBezTo>
                  <a:pt x="618077" y="1091572"/>
                  <a:pt x="629984" y="1082904"/>
                  <a:pt x="639985" y="1075665"/>
                </a:cubicBezTo>
                <a:close/>
                <a:moveTo>
                  <a:pt x="575215" y="971176"/>
                </a:moveTo>
                <a:cubicBezTo>
                  <a:pt x="579025" y="990226"/>
                  <a:pt x="583502" y="1008800"/>
                  <a:pt x="606552" y="1015563"/>
                </a:cubicBezTo>
                <a:cubicBezTo>
                  <a:pt x="587216" y="1016610"/>
                  <a:pt x="572738" y="1024897"/>
                  <a:pt x="565880" y="1039089"/>
                </a:cubicBezTo>
                <a:cubicBezTo>
                  <a:pt x="557689" y="1027373"/>
                  <a:pt x="549021" y="1014896"/>
                  <a:pt x="540449" y="1002609"/>
                </a:cubicBezTo>
                <a:cubicBezTo>
                  <a:pt x="556355" y="1000608"/>
                  <a:pt x="569786" y="990417"/>
                  <a:pt x="575215" y="971176"/>
                </a:cubicBezTo>
                <a:close/>
                <a:moveTo>
                  <a:pt x="560261" y="1061759"/>
                </a:moveTo>
                <a:cubicBezTo>
                  <a:pt x="566261" y="1071189"/>
                  <a:pt x="574072" y="1083285"/>
                  <a:pt x="581216" y="1094430"/>
                </a:cubicBezTo>
                <a:cubicBezTo>
                  <a:pt x="572643" y="1099764"/>
                  <a:pt x="561499" y="1106622"/>
                  <a:pt x="550926" y="1113098"/>
                </a:cubicBezTo>
                <a:cubicBezTo>
                  <a:pt x="544163" y="1103859"/>
                  <a:pt x="536543" y="1093477"/>
                  <a:pt x="529876" y="1084523"/>
                </a:cubicBezTo>
                <a:cubicBezTo>
                  <a:pt x="539591" y="1077285"/>
                  <a:pt x="551021" y="1068712"/>
                  <a:pt x="560261" y="1061759"/>
                </a:cubicBezTo>
                <a:close/>
                <a:moveTo>
                  <a:pt x="497014" y="964413"/>
                </a:moveTo>
                <a:cubicBezTo>
                  <a:pt x="497586" y="980034"/>
                  <a:pt x="507206" y="993369"/>
                  <a:pt x="521589" y="999751"/>
                </a:cubicBezTo>
                <a:cubicBezTo>
                  <a:pt x="510159" y="1005847"/>
                  <a:pt x="497777" y="1012514"/>
                  <a:pt x="487109" y="1018325"/>
                </a:cubicBezTo>
                <a:cubicBezTo>
                  <a:pt x="480060" y="1009657"/>
                  <a:pt x="471392" y="999179"/>
                  <a:pt x="464249" y="990321"/>
                </a:cubicBezTo>
                <a:cubicBezTo>
                  <a:pt x="473869" y="982701"/>
                  <a:pt x="485680" y="973367"/>
                  <a:pt x="497014" y="964413"/>
                </a:cubicBezTo>
                <a:close/>
                <a:moveTo>
                  <a:pt x="481298" y="1051662"/>
                </a:moveTo>
                <a:cubicBezTo>
                  <a:pt x="487394" y="1060139"/>
                  <a:pt x="494633" y="1070141"/>
                  <a:pt x="501301" y="1079475"/>
                </a:cubicBezTo>
                <a:cubicBezTo>
                  <a:pt x="492443" y="1084809"/>
                  <a:pt x="482632" y="1090620"/>
                  <a:pt x="473393" y="1096144"/>
                </a:cubicBezTo>
                <a:cubicBezTo>
                  <a:pt x="466915" y="1087762"/>
                  <a:pt x="459677" y="1078428"/>
                  <a:pt x="453104" y="1069950"/>
                </a:cubicBezTo>
                <a:cubicBezTo>
                  <a:pt x="461867" y="1064330"/>
                  <a:pt x="472154" y="1057663"/>
                  <a:pt x="481298" y="1051662"/>
                </a:cubicBezTo>
                <a:close/>
                <a:moveTo>
                  <a:pt x="466535" y="1133482"/>
                </a:moveTo>
                <a:cubicBezTo>
                  <a:pt x="472631" y="1141864"/>
                  <a:pt x="478917" y="1150437"/>
                  <a:pt x="485204" y="1159009"/>
                </a:cubicBezTo>
                <a:cubicBezTo>
                  <a:pt x="477393" y="1164534"/>
                  <a:pt x="468821" y="1170534"/>
                  <a:pt x="460724" y="1176249"/>
                </a:cubicBezTo>
                <a:cubicBezTo>
                  <a:pt x="454438" y="1167391"/>
                  <a:pt x="448056" y="1158342"/>
                  <a:pt x="442055" y="1150055"/>
                </a:cubicBezTo>
                <a:cubicBezTo>
                  <a:pt x="450056" y="1144626"/>
                  <a:pt x="458438" y="1138911"/>
                  <a:pt x="466535" y="1133482"/>
                </a:cubicBezTo>
                <a:close/>
                <a:moveTo>
                  <a:pt x="416052" y="956698"/>
                </a:moveTo>
                <a:cubicBezTo>
                  <a:pt x="423005" y="965747"/>
                  <a:pt x="431578" y="976891"/>
                  <a:pt x="439007" y="986511"/>
                </a:cubicBezTo>
                <a:cubicBezTo>
                  <a:pt x="429673" y="992798"/>
                  <a:pt x="417957" y="1000799"/>
                  <a:pt x="408623" y="1007180"/>
                </a:cubicBezTo>
                <a:cubicBezTo>
                  <a:pt x="401384" y="997179"/>
                  <a:pt x="393002" y="985463"/>
                  <a:pt x="385953" y="975653"/>
                </a:cubicBezTo>
                <a:cubicBezTo>
                  <a:pt x="394526" y="970319"/>
                  <a:pt x="405765" y="963175"/>
                  <a:pt x="416052" y="956698"/>
                </a:cubicBezTo>
                <a:close/>
                <a:moveTo>
                  <a:pt x="403765" y="1034613"/>
                </a:moveTo>
                <a:cubicBezTo>
                  <a:pt x="409670" y="1043852"/>
                  <a:pt x="416719" y="1054805"/>
                  <a:pt x="423196" y="1064997"/>
                </a:cubicBezTo>
                <a:cubicBezTo>
                  <a:pt x="414433" y="1070712"/>
                  <a:pt x="404432" y="1077285"/>
                  <a:pt x="394716" y="1083762"/>
                </a:cubicBezTo>
                <a:cubicBezTo>
                  <a:pt x="388334" y="1075094"/>
                  <a:pt x="381000" y="1065093"/>
                  <a:pt x="374523" y="1056234"/>
                </a:cubicBezTo>
                <a:cubicBezTo>
                  <a:pt x="383858" y="1049376"/>
                  <a:pt x="394621" y="1041375"/>
                  <a:pt x="403765" y="1034613"/>
                </a:cubicBezTo>
                <a:close/>
                <a:moveTo>
                  <a:pt x="388906" y="1117194"/>
                </a:moveTo>
                <a:cubicBezTo>
                  <a:pt x="394526" y="1125672"/>
                  <a:pt x="400526" y="1134816"/>
                  <a:pt x="406718" y="1144055"/>
                </a:cubicBezTo>
                <a:cubicBezTo>
                  <a:pt x="398907" y="1149294"/>
                  <a:pt x="389858" y="1155294"/>
                  <a:pt x="381095" y="1161105"/>
                </a:cubicBezTo>
                <a:cubicBezTo>
                  <a:pt x="375380" y="1153199"/>
                  <a:pt x="369189" y="1144531"/>
                  <a:pt x="362998" y="1136054"/>
                </a:cubicBezTo>
                <a:cubicBezTo>
                  <a:pt x="371665" y="1129767"/>
                  <a:pt x="380524" y="1123290"/>
                  <a:pt x="388906" y="1117194"/>
                </a:cubicBezTo>
                <a:close/>
                <a:moveTo>
                  <a:pt x="338519" y="938601"/>
                </a:moveTo>
                <a:cubicBezTo>
                  <a:pt x="345186" y="948697"/>
                  <a:pt x="353663" y="961556"/>
                  <a:pt x="360521" y="971938"/>
                </a:cubicBezTo>
                <a:cubicBezTo>
                  <a:pt x="350806" y="978225"/>
                  <a:pt x="338709" y="986035"/>
                  <a:pt x="328708" y="992512"/>
                </a:cubicBezTo>
                <a:cubicBezTo>
                  <a:pt x="321945" y="982987"/>
                  <a:pt x="313754" y="971557"/>
                  <a:pt x="307086" y="962222"/>
                </a:cubicBezTo>
                <a:cubicBezTo>
                  <a:pt x="316992" y="954793"/>
                  <a:pt x="329089" y="945649"/>
                  <a:pt x="338519" y="938601"/>
                </a:cubicBezTo>
                <a:close/>
                <a:moveTo>
                  <a:pt x="324136" y="1020896"/>
                </a:moveTo>
                <a:cubicBezTo>
                  <a:pt x="329756" y="1029850"/>
                  <a:pt x="336518" y="1040518"/>
                  <a:pt x="343186" y="1051091"/>
                </a:cubicBezTo>
                <a:cubicBezTo>
                  <a:pt x="335185" y="1056330"/>
                  <a:pt x="325184" y="1062806"/>
                  <a:pt x="315373" y="1069284"/>
                </a:cubicBezTo>
                <a:cubicBezTo>
                  <a:pt x="308610" y="1060139"/>
                  <a:pt x="301466" y="1050519"/>
                  <a:pt x="295085" y="1042042"/>
                </a:cubicBezTo>
                <a:cubicBezTo>
                  <a:pt x="304324" y="1035279"/>
                  <a:pt x="314897" y="1027564"/>
                  <a:pt x="324136" y="1020896"/>
                </a:cubicBezTo>
                <a:close/>
                <a:moveTo>
                  <a:pt x="309182" y="1103478"/>
                </a:moveTo>
                <a:cubicBezTo>
                  <a:pt x="315087" y="1112146"/>
                  <a:pt x="321183" y="1121195"/>
                  <a:pt x="326993" y="1129577"/>
                </a:cubicBezTo>
                <a:cubicBezTo>
                  <a:pt x="318897" y="1134911"/>
                  <a:pt x="310039" y="1140816"/>
                  <a:pt x="301371" y="1146531"/>
                </a:cubicBezTo>
                <a:cubicBezTo>
                  <a:pt x="295561" y="1138435"/>
                  <a:pt x="289274" y="1129863"/>
                  <a:pt x="283464" y="1121862"/>
                </a:cubicBezTo>
                <a:cubicBezTo>
                  <a:pt x="291941" y="1115861"/>
                  <a:pt x="300800" y="1109479"/>
                  <a:pt x="309182" y="1103478"/>
                </a:cubicBezTo>
                <a:close/>
                <a:moveTo>
                  <a:pt x="258985" y="923837"/>
                </a:moveTo>
                <a:cubicBezTo>
                  <a:pt x="265081" y="933647"/>
                  <a:pt x="273177" y="946506"/>
                  <a:pt x="280321" y="957936"/>
                </a:cubicBezTo>
                <a:cubicBezTo>
                  <a:pt x="271272" y="963746"/>
                  <a:pt x="259270" y="971462"/>
                  <a:pt x="249079" y="978034"/>
                </a:cubicBezTo>
                <a:cubicBezTo>
                  <a:pt x="242221" y="968604"/>
                  <a:pt x="233839" y="956984"/>
                  <a:pt x="227457" y="948221"/>
                </a:cubicBezTo>
                <a:cubicBezTo>
                  <a:pt x="237554" y="940315"/>
                  <a:pt x="249745" y="930980"/>
                  <a:pt x="258985" y="923837"/>
                </a:cubicBezTo>
                <a:close/>
                <a:moveTo>
                  <a:pt x="244602" y="1006895"/>
                </a:moveTo>
                <a:cubicBezTo>
                  <a:pt x="250127" y="1015658"/>
                  <a:pt x="256985" y="1026516"/>
                  <a:pt x="263271" y="1036613"/>
                </a:cubicBezTo>
                <a:cubicBezTo>
                  <a:pt x="254794" y="1042233"/>
                  <a:pt x="244888" y="1048805"/>
                  <a:pt x="235649" y="1054996"/>
                </a:cubicBezTo>
                <a:cubicBezTo>
                  <a:pt x="228886" y="1045947"/>
                  <a:pt x="221456" y="1036137"/>
                  <a:pt x="215265" y="1027945"/>
                </a:cubicBezTo>
                <a:cubicBezTo>
                  <a:pt x="224600" y="1021182"/>
                  <a:pt x="234982" y="1013848"/>
                  <a:pt x="244602" y="1006895"/>
                </a:cubicBezTo>
                <a:close/>
                <a:moveTo>
                  <a:pt x="229362" y="1089477"/>
                </a:moveTo>
                <a:cubicBezTo>
                  <a:pt x="235268" y="1098144"/>
                  <a:pt x="241364" y="1106907"/>
                  <a:pt x="247174" y="1115480"/>
                </a:cubicBezTo>
                <a:cubicBezTo>
                  <a:pt x="239363" y="1120719"/>
                  <a:pt x="230505" y="1126529"/>
                  <a:pt x="221647" y="1132434"/>
                </a:cubicBezTo>
                <a:cubicBezTo>
                  <a:pt x="216218" y="1124910"/>
                  <a:pt x="210312" y="1116528"/>
                  <a:pt x="203930" y="1107669"/>
                </a:cubicBezTo>
                <a:cubicBezTo>
                  <a:pt x="211836" y="1102050"/>
                  <a:pt x="220599" y="1095763"/>
                  <a:pt x="229362" y="1089477"/>
                </a:cubicBezTo>
                <a:close/>
                <a:moveTo>
                  <a:pt x="179642" y="911454"/>
                </a:moveTo>
                <a:cubicBezTo>
                  <a:pt x="186023" y="920979"/>
                  <a:pt x="194310" y="933171"/>
                  <a:pt x="201073" y="943268"/>
                </a:cubicBezTo>
                <a:cubicBezTo>
                  <a:pt x="191072" y="949840"/>
                  <a:pt x="179356" y="957460"/>
                  <a:pt x="168878" y="964318"/>
                </a:cubicBezTo>
                <a:cubicBezTo>
                  <a:pt x="163640" y="955936"/>
                  <a:pt x="156972" y="945268"/>
                  <a:pt x="151162" y="936124"/>
                </a:cubicBezTo>
                <a:cubicBezTo>
                  <a:pt x="160306" y="928313"/>
                  <a:pt x="170974" y="919074"/>
                  <a:pt x="179642" y="911454"/>
                </a:cubicBezTo>
                <a:close/>
                <a:moveTo>
                  <a:pt x="164687" y="992512"/>
                </a:moveTo>
                <a:cubicBezTo>
                  <a:pt x="170498" y="1001656"/>
                  <a:pt x="177356" y="1012324"/>
                  <a:pt x="183737" y="1022325"/>
                </a:cubicBezTo>
                <a:cubicBezTo>
                  <a:pt x="175260" y="1027945"/>
                  <a:pt x="165259" y="1034613"/>
                  <a:pt x="155924" y="1040899"/>
                </a:cubicBezTo>
                <a:cubicBezTo>
                  <a:pt x="149162" y="1031850"/>
                  <a:pt x="141732" y="1021944"/>
                  <a:pt x="135446" y="1013658"/>
                </a:cubicBezTo>
                <a:cubicBezTo>
                  <a:pt x="145066" y="1006704"/>
                  <a:pt x="155734" y="998989"/>
                  <a:pt x="164687" y="992512"/>
                </a:cubicBezTo>
                <a:close/>
                <a:moveTo>
                  <a:pt x="149733" y="1074998"/>
                </a:moveTo>
                <a:cubicBezTo>
                  <a:pt x="155448" y="1083380"/>
                  <a:pt x="161735" y="1092525"/>
                  <a:pt x="167640" y="1101192"/>
                </a:cubicBezTo>
                <a:cubicBezTo>
                  <a:pt x="159734" y="1106526"/>
                  <a:pt x="150876" y="1112432"/>
                  <a:pt x="142113" y="1118242"/>
                </a:cubicBezTo>
                <a:cubicBezTo>
                  <a:pt x="136398" y="1110336"/>
                  <a:pt x="130112" y="1101764"/>
                  <a:pt x="124016" y="1093477"/>
                </a:cubicBezTo>
                <a:cubicBezTo>
                  <a:pt x="132683" y="1087286"/>
                  <a:pt x="141351" y="1081095"/>
                  <a:pt x="149733" y="1074998"/>
                </a:cubicBezTo>
                <a:close/>
                <a:moveTo>
                  <a:pt x="100108" y="897071"/>
                </a:moveTo>
                <a:cubicBezTo>
                  <a:pt x="105061" y="906216"/>
                  <a:pt x="111633" y="918503"/>
                  <a:pt x="117920" y="930123"/>
                </a:cubicBezTo>
                <a:cubicBezTo>
                  <a:pt x="109157" y="936600"/>
                  <a:pt x="98584" y="944601"/>
                  <a:pt x="89726" y="951173"/>
                </a:cubicBezTo>
                <a:cubicBezTo>
                  <a:pt x="84106" y="942125"/>
                  <a:pt x="77343" y="931362"/>
                  <a:pt x="71247" y="921551"/>
                </a:cubicBezTo>
                <a:cubicBezTo>
                  <a:pt x="80486" y="913740"/>
                  <a:pt x="91440" y="904501"/>
                  <a:pt x="100108" y="897071"/>
                </a:cubicBezTo>
                <a:close/>
                <a:moveTo>
                  <a:pt x="85249" y="977939"/>
                </a:moveTo>
                <a:cubicBezTo>
                  <a:pt x="90964" y="986988"/>
                  <a:pt x="97727" y="997751"/>
                  <a:pt x="104204" y="1008228"/>
                </a:cubicBezTo>
                <a:cubicBezTo>
                  <a:pt x="95345" y="1014229"/>
                  <a:pt x="85439" y="1020896"/>
                  <a:pt x="76105" y="1027278"/>
                </a:cubicBezTo>
                <a:cubicBezTo>
                  <a:pt x="69437" y="1018229"/>
                  <a:pt x="61912" y="1008038"/>
                  <a:pt x="55436" y="999370"/>
                </a:cubicBezTo>
                <a:cubicBezTo>
                  <a:pt x="64961" y="992512"/>
                  <a:pt x="76010" y="984606"/>
                  <a:pt x="85249" y="977939"/>
                </a:cubicBezTo>
                <a:close/>
                <a:moveTo>
                  <a:pt x="70390" y="1060521"/>
                </a:moveTo>
                <a:cubicBezTo>
                  <a:pt x="76105" y="1068998"/>
                  <a:pt x="82201" y="1078142"/>
                  <a:pt x="88297" y="1087191"/>
                </a:cubicBezTo>
                <a:cubicBezTo>
                  <a:pt x="80296" y="1092525"/>
                  <a:pt x="71247" y="1098525"/>
                  <a:pt x="62389" y="1104336"/>
                </a:cubicBezTo>
                <a:cubicBezTo>
                  <a:pt x="56102" y="1095954"/>
                  <a:pt x="49530" y="1087191"/>
                  <a:pt x="43625" y="1079285"/>
                </a:cubicBezTo>
                <a:cubicBezTo>
                  <a:pt x="52769" y="1072903"/>
                  <a:pt x="61722" y="1066521"/>
                  <a:pt x="70390" y="1060521"/>
                </a:cubicBezTo>
                <a:close/>
                <a:moveTo>
                  <a:pt x="55626" y="1142150"/>
                </a:moveTo>
                <a:cubicBezTo>
                  <a:pt x="60770" y="1149865"/>
                  <a:pt x="66199" y="1158056"/>
                  <a:pt x="71723" y="1166248"/>
                </a:cubicBezTo>
                <a:cubicBezTo>
                  <a:pt x="64103" y="1171392"/>
                  <a:pt x="56388" y="1176630"/>
                  <a:pt x="48673" y="1181869"/>
                </a:cubicBezTo>
                <a:cubicBezTo>
                  <a:pt x="43529" y="1174821"/>
                  <a:pt x="38100" y="1167296"/>
                  <a:pt x="32194" y="1159200"/>
                </a:cubicBezTo>
                <a:cubicBezTo>
                  <a:pt x="39624" y="1153770"/>
                  <a:pt x="47625" y="1147960"/>
                  <a:pt x="55626" y="1142150"/>
                </a:cubicBezTo>
                <a:close/>
                <a:moveTo>
                  <a:pt x="40767" y="1223874"/>
                </a:moveTo>
                <a:cubicBezTo>
                  <a:pt x="45434" y="1230923"/>
                  <a:pt x="50197" y="1238162"/>
                  <a:pt x="55055" y="1245401"/>
                </a:cubicBezTo>
                <a:cubicBezTo>
                  <a:pt x="49149" y="1249211"/>
                  <a:pt x="43339" y="1252926"/>
                  <a:pt x="36767" y="1257117"/>
                </a:cubicBezTo>
                <a:cubicBezTo>
                  <a:pt x="31528" y="1250544"/>
                  <a:pt x="26956" y="1244829"/>
                  <a:pt x="22003" y="1238543"/>
                </a:cubicBezTo>
                <a:cubicBezTo>
                  <a:pt x="28194" y="1233685"/>
                  <a:pt x="34385" y="1228922"/>
                  <a:pt x="40767" y="1223874"/>
                </a:cubicBezTo>
                <a:close/>
                <a:moveTo>
                  <a:pt x="23717" y="1336841"/>
                </a:moveTo>
                <a:cubicBezTo>
                  <a:pt x="19050" y="1330459"/>
                  <a:pt x="15240" y="1325220"/>
                  <a:pt x="10954" y="1319315"/>
                </a:cubicBezTo>
                <a:cubicBezTo>
                  <a:pt x="16002" y="1315695"/>
                  <a:pt x="21146" y="1311885"/>
                  <a:pt x="26765" y="1307885"/>
                </a:cubicBezTo>
                <a:cubicBezTo>
                  <a:pt x="30861" y="1313505"/>
                  <a:pt x="34957" y="1319029"/>
                  <a:pt x="39529" y="1325125"/>
                </a:cubicBezTo>
                <a:cubicBezTo>
                  <a:pt x="34195" y="1329030"/>
                  <a:pt x="29147" y="1332840"/>
                  <a:pt x="23717" y="1336841"/>
                </a:cubicBezTo>
                <a:close/>
                <a:moveTo>
                  <a:pt x="931354" y="1278738"/>
                </a:moveTo>
                <a:cubicBezTo>
                  <a:pt x="936498" y="1270642"/>
                  <a:pt x="940499" y="1261212"/>
                  <a:pt x="947166" y="1254640"/>
                </a:cubicBezTo>
                <a:cubicBezTo>
                  <a:pt x="958501" y="1243496"/>
                  <a:pt x="976694" y="1242734"/>
                  <a:pt x="990505" y="1250639"/>
                </a:cubicBezTo>
                <a:cubicBezTo>
                  <a:pt x="1004411" y="1258545"/>
                  <a:pt x="1012031" y="1274357"/>
                  <a:pt x="1009460" y="1289978"/>
                </a:cubicBezTo>
                <a:cubicBezTo>
                  <a:pt x="1006793" y="1306361"/>
                  <a:pt x="995744" y="1318172"/>
                  <a:pt x="979551" y="1321601"/>
                </a:cubicBezTo>
                <a:cubicBezTo>
                  <a:pt x="974979" y="1322553"/>
                  <a:pt x="970312" y="1323030"/>
                  <a:pt x="965645" y="1323792"/>
                </a:cubicBezTo>
                <a:lnTo>
                  <a:pt x="966121" y="1324077"/>
                </a:lnTo>
                <a:cubicBezTo>
                  <a:pt x="944118" y="1316648"/>
                  <a:pt x="932021" y="1301789"/>
                  <a:pt x="931831" y="1278167"/>
                </a:cubicBezTo>
                <a:lnTo>
                  <a:pt x="931354" y="1278738"/>
                </a:lnTo>
                <a:close/>
                <a:moveTo>
                  <a:pt x="865156" y="1190251"/>
                </a:moveTo>
                <a:cubicBezTo>
                  <a:pt x="871252" y="1167296"/>
                  <a:pt x="884301" y="1152151"/>
                  <a:pt x="909447" y="1150627"/>
                </a:cubicBezTo>
                <a:lnTo>
                  <a:pt x="909066" y="1150341"/>
                </a:lnTo>
                <a:cubicBezTo>
                  <a:pt x="935355" y="1160438"/>
                  <a:pt x="945928" y="1173297"/>
                  <a:pt x="944404" y="1193013"/>
                </a:cubicBezTo>
                <a:cubicBezTo>
                  <a:pt x="942880" y="1212349"/>
                  <a:pt x="928116" y="1227208"/>
                  <a:pt x="908780" y="1228732"/>
                </a:cubicBezTo>
                <a:cubicBezTo>
                  <a:pt x="890302" y="1230256"/>
                  <a:pt x="873824" y="1218159"/>
                  <a:pt x="868871" y="1199776"/>
                </a:cubicBezTo>
                <a:cubicBezTo>
                  <a:pt x="867918" y="1196347"/>
                  <a:pt x="866489" y="1193013"/>
                  <a:pt x="865251" y="1189680"/>
                </a:cubicBezTo>
                <a:cubicBezTo>
                  <a:pt x="865251" y="1189870"/>
                  <a:pt x="865156" y="1190251"/>
                  <a:pt x="865156" y="1190251"/>
                </a:cubicBezTo>
                <a:close/>
                <a:moveTo>
                  <a:pt x="1076897" y="1381037"/>
                </a:moveTo>
                <a:cubicBezTo>
                  <a:pt x="1065848" y="1409612"/>
                  <a:pt x="1050703" y="1420375"/>
                  <a:pt x="1028224" y="1415327"/>
                </a:cubicBezTo>
                <a:cubicBezTo>
                  <a:pt x="1009936" y="1411326"/>
                  <a:pt x="997172" y="1394372"/>
                  <a:pt x="998411" y="1375798"/>
                </a:cubicBezTo>
                <a:cubicBezTo>
                  <a:pt x="999649" y="1356843"/>
                  <a:pt x="1013651" y="1342175"/>
                  <a:pt x="1032605" y="1339889"/>
                </a:cubicBezTo>
                <a:cubicBezTo>
                  <a:pt x="1051179" y="1337698"/>
                  <a:pt x="1068800" y="1349414"/>
                  <a:pt x="1073658" y="1367511"/>
                </a:cubicBezTo>
                <a:cubicBezTo>
                  <a:pt x="1074896" y="1372083"/>
                  <a:pt x="1075563" y="1376751"/>
                  <a:pt x="1076516" y="1381418"/>
                </a:cubicBezTo>
                <a:lnTo>
                  <a:pt x="1076897" y="1381037"/>
                </a:lnTo>
                <a:close/>
                <a:moveTo>
                  <a:pt x="432626" y="856590"/>
                </a:moveTo>
                <a:cubicBezTo>
                  <a:pt x="432626" y="876688"/>
                  <a:pt x="414814" y="893452"/>
                  <a:pt x="393859" y="893071"/>
                </a:cubicBezTo>
                <a:cubicBezTo>
                  <a:pt x="372809" y="892690"/>
                  <a:pt x="356426" y="876021"/>
                  <a:pt x="356426" y="854971"/>
                </a:cubicBezTo>
                <a:cubicBezTo>
                  <a:pt x="356426" y="833349"/>
                  <a:pt x="373666" y="816490"/>
                  <a:pt x="395383" y="816871"/>
                </a:cubicBezTo>
                <a:cubicBezTo>
                  <a:pt x="416814" y="817347"/>
                  <a:pt x="432626" y="834111"/>
                  <a:pt x="432626" y="856590"/>
                </a:cubicBezTo>
                <a:close/>
                <a:moveTo>
                  <a:pt x="433292" y="867639"/>
                </a:moveTo>
                <a:cubicBezTo>
                  <a:pt x="433102" y="848208"/>
                  <a:pt x="450342" y="831444"/>
                  <a:pt x="470821" y="831254"/>
                </a:cubicBezTo>
                <a:cubicBezTo>
                  <a:pt x="492062" y="831063"/>
                  <a:pt x="508826" y="847351"/>
                  <a:pt x="509207" y="868496"/>
                </a:cubicBezTo>
                <a:cubicBezTo>
                  <a:pt x="509588" y="889737"/>
                  <a:pt x="493300" y="906692"/>
                  <a:pt x="472250" y="907168"/>
                </a:cubicBezTo>
                <a:cubicBezTo>
                  <a:pt x="449866" y="907739"/>
                  <a:pt x="433483" y="891071"/>
                  <a:pt x="433292" y="867639"/>
                </a:cubicBezTo>
                <a:close/>
                <a:moveTo>
                  <a:pt x="76105" y="838969"/>
                </a:moveTo>
                <a:cubicBezTo>
                  <a:pt x="54959" y="838969"/>
                  <a:pt x="38386" y="822491"/>
                  <a:pt x="38195" y="801345"/>
                </a:cubicBezTo>
                <a:cubicBezTo>
                  <a:pt x="38005" y="779628"/>
                  <a:pt x="55150" y="762674"/>
                  <a:pt x="76867" y="763055"/>
                </a:cubicBezTo>
                <a:cubicBezTo>
                  <a:pt x="98012" y="763436"/>
                  <a:pt x="114300" y="780200"/>
                  <a:pt x="114110" y="801441"/>
                </a:cubicBezTo>
                <a:cubicBezTo>
                  <a:pt x="113919" y="822586"/>
                  <a:pt x="97250" y="838969"/>
                  <a:pt x="76105" y="838969"/>
                </a:cubicBezTo>
                <a:close/>
                <a:moveTo>
                  <a:pt x="1102424" y="1433805"/>
                </a:moveTo>
                <a:cubicBezTo>
                  <a:pt x="1123569" y="1433901"/>
                  <a:pt x="1140143" y="1450379"/>
                  <a:pt x="1140238" y="1471620"/>
                </a:cubicBezTo>
                <a:cubicBezTo>
                  <a:pt x="1140333" y="1493337"/>
                  <a:pt x="1123188" y="1510196"/>
                  <a:pt x="1101376" y="1509720"/>
                </a:cubicBezTo>
                <a:cubicBezTo>
                  <a:pt x="1080326" y="1509243"/>
                  <a:pt x="1064038" y="1492384"/>
                  <a:pt x="1064324" y="1471239"/>
                </a:cubicBezTo>
                <a:cubicBezTo>
                  <a:pt x="1064514" y="1450188"/>
                  <a:pt x="1081183" y="1433710"/>
                  <a:pt x="1102424" y="1433805"/>
                </a:cubicBezTo>
                <a:close/>
                <a:moveTo>
                  <a:pt x="733901" y="990893"/>
                </a:moveTo>
                <a:cubicBezTo>
                  <a:pt x="734187" y="1011943"/>
                  <a:pt x="718090" y="1028897"/>
                  <a:pt x="697135" y="1029564"/>
                </a:cubicBezTo>
                <a:cubicBezTo>
                  <a:pt x="675608" y="1030231"/>
                  <a:pt x="658082" y="1013658"/>
                  <a:pt x="657701" y="992036"/>
                </a:cubicBezTo>
                <a:cubicBezTo>
                  <a:pt x="657416" y="970414"/>
                  <a:pt x="674370" y="953269"/>
                  <a:pt x="695897" y="953364"/>
                </a:cubicBezTo>
                <a:cubicBezTo>
                  <a:pt x="716852" y="953364"/>
                  <a:pt x="733520" y="969843"/>
                  <a:pt x="733901" y="990893"/>
                </a:cubicBezTo>
                <a:close/>
                <a:moveTo>
                  <a:pt x="878872" y="1099764"/>
                </a:moveTo>
                <a:cubicBezTo>
                  <a:pt x="878681" y="1121290"/>
                  <a:pt x="861346" y="1138149"/>
                  <a:pt x="839724" y="1137578"/>
                </a:cubicBezTo>
                <a:cubicBezTo>
                  <a:pt x="818769" y="1137006"/>
                  <a:pt x="802481" y="1120147"/>
                  <a:pt x="802672" y="1099192"/>
                </a:cubicBezTo>
                <a:cubicBezTo>
                  <a:pt x="802862" y="1077666"/>
                  <a:pt x="820198" y="1060902"/>
                  <a:pt x="841820" y="1061378"/>
                </a:cubicBezTo>
                <a:cubicBezTo>
                  <a:pt x="862679" y="1061854"/>
                  <a:pt x="878967" y="1078809"/>
                  <a:pt x="878872" y="1099764"/>
                </a:cubicBezTo>
                <a:close/>
                <a:moveTo>
                  <a:pt x="193834" y="814680"/>
                </a:moveTo>
                <a:cubicBezTo>
                  <a:pt x="194120" y="835730"/>
                  <a:pt x="177927" y="852685"/>
                  <a:pt x="156972" y="853352"/>
                </a:cubicBezTo>
                <a:cubicBezTo>
                  <a:pt x="135446" y="854019"/>
                  <a:pt x="117920" y="837350"/>
                  <a:pt x="117634" y="815823"/>
                </a:cubicBezTo>
                <a:cubicBezTo>
                  <a:pt x="117348" y="794202"/>
                  <a:pt x="134303" y="777056"/>
                  <a:pt x="155924" y="777152"/>
                </a:cubicBezTo>
                <a:cubicBezTo>
                  <a:pt x="176975" y="777247"/>
                  <a:pt x="193548" y="793725"/>
                  <a:pt x="193834" y="814680"/>
                </a:cubicBezTo>
                <a:close/>
                <a:moveTo>
                  <a:pt x="588550" y="884118"/>
                </a:moveTo>
                <a:cubicBezTo>
                  <a:pt x="588264" y="905358"/>
                  <a:pt x="571595" y="921455"/>
                  <a:pt x="550259" y="921170"/>
                </a:cubicBezTo>
                <a:cubicBezTo>
                  <a:pt x="529019" y="920884"/>
                  <a:pt x="512921" y="904215"/>
                  <a:pt x="513207" y="882879"/>
                </a:cubicBezTo>
                <a:cubicBezTo>
                  <a:pt x="513493" y="861638"/>
                  <a:pt x="530162" y="845541"/>
                  <a:pt x="551498" y="845827"/>
                </a:cubicBezTo>
                <a:cubicBezTo>
                  <a:pt x="572643" y="846018"/>
                  <a:pt x="588836" y="862781"/>
                  <a:pt x="588550" y="884118"/>
                </a:cubicBezTo>
                <a:close/>
                <a:moveTo>
                  <a:pt x="775716" y="1043185"/>
                </a:moveTo>
                <a:cubicBezTo>
                  <a:pt x="754285" y="1043280"/>
                  <a:pt x="737902" y="1026993"/>
                  <a:pt x="737902" y="1005656"/>
                </a:cubicBezTo>
                <a:cubicBezTo>
                  <a:pt x="737902" y="984321"/>
                  <a:pt x="754380" y="968033"/>
                  <a:pt x="775811" y="968223"/>
                </a:cubicBezTo>
                <a:cubicBezTo>
                  <a:pt x="796576" y="968414"/>
                  <a:pt x="812578" y="984321"/>
                  <a:pt x="812864" y="1004990"/>
                </a:cubicBezTo>
                <a:cubicBezTo>
                  <a:pt x="813149" y="1026421"/>
                  <a:pt x="796957" y="1042995"/>
                  <a:pt x="775716" y="1043185"/>
                </a:cubicBezTo>
                <a:close/>
                <a:moveTo>
                  <a:pt x="34195" y="786201"/>
                </a:moveTo>
                <a:cubicBezTo>
                  <a:pt x="34481" y="806489"/>
                  <a:pt x="19812" y="822396"/>
                  <a:pt x="95" y="824110"/>
                </a:cubicBezTo>
                <a:lnTo>
                  <a:pt x="95" y="749625"/>
                </a:lnTo>
                <a:cubicBezTo>
                  <a:pt x="19336" y="751339"/>
                  <a:pt x="33909" y="766388"/>
                  <a:pt x="34195" y="786201"/>
                </a:cubicBezTo>
                <a:close/>
                <a:moveTo>
                  <a:pt x="909447" y="1150627"/>
                </a:moveTo>
                <a:cubicBezTo>
                  <a:pt x="894207" y="1143007"/>
                  <a:pt x="882968" y="1132530"/>
                  <a:pt x="882968" y="1113956"/>
                </a:cubicBezTo>
                <a:cubicBezTo>
                  <a:pt x="882872" y="1093191"/>
                  <a:pt x="898589" y="1076904"/>
                  <a:pt x="919163" y="1076332"/>
                </a:cubicBezTo>
                <a:cubicBezTo>
                  <a:pt x="939927" y="1075856"/>
                  <a:pt x="956691" y="1091191"/>
                  <a:pt x="957548" y="1111670"/>
                </a:cubicBezTo>
                <a:cubicBezTo>
                  <a:pt x="958406" y="1132625"/>
                  <a:pt x="943832" y="1149389"/>
                  <a:pt x="923163" y="1150818"/>
                </a:cubicBezTo>
                <a:cubicBezTo>
                  <a:pt x="918496" y="1151103"/>
                  <a:pt x="913829" y="1150532"/>
                  <a:pt x="909161" y="1150341"/>
                </a:cubicBezTo>
                <a:cubicBezTo>
                  <a:pt x="909066" y="1150341"/>
                  <a:pt x="909447" y="1150627"/>
                  <a:pt x="909447" y="1150627"/>
                </a:cubicBezTo>
                <a:close/>
                <a:moveTo>
                  <a:pt x="985838" y="1241972"/>
                </a:moveTo>
                <a:cubicBezTo>
                  <a:pt x="964502" y="1242067"/>
                  <a:pt x="948214" y="1225779"/>
                  <a:pt x="948309" y="1204443"/>
                </a:cubicBezTo>
                <a:cubicBezTo>
                  <a:pt x="948404" y="1183203"/>
                  <a:pt x="964883" y="1167010"/>
                  <a:pt x="986219" y="1167201"/>
                </a:cubicBezTo>
                <a:cubicBezTo>
                  <a:pt x="1006888" y="1167391"/>
                  <a:pt x="1022890" y="1183393"/>
                  <a:pt x="1023080" y="1204062"/>
                </a:cubicBezTo>
                <a:cubicBezTo>
                  <a:pt x="1023271" y="1225398"/>
                  <a:pt x="1007078" y="1241877"/>
                  <a:pt x="985838" y="1241972"/>
                </a:cubicBezTo>
                <a:close/>
                <a:moveTo>
                  <a:pt x="1076611" y="1381418"/>
                </a:moveTo>
                <a:cubicBezTo>
                  <a:pt x="1084231" y="1366178"/>
                  <a:pt x="1094708" y="1354938"/>
                  <a:pt x="1113282" y="1354938"/>
                </a:cubicBezTo>
                <a:cubicBezTo>
                  <a:pt x="1134047" y="1354843"/>
                  <a:pt x="1150334" y="1370559"/>
                  <a:pt x="1150906" y="1391133"/>
                </a:cubicBezTo>
                <a:cubicBezTo>
                  <a:pt x="1151382" y="1411898"/>
                  <a:pt x="1136047" y="1428662"/>
                  <a:pt x="1115568" y="1429519"/>
                </a:cubicBezTo>
                <a:cubicBezTo>
                  <a:pt x="1094613" y="1430376"/>
                  <a:pt x="1077849" y="1415803"/>
                  <a:pt x="1076420" y="1395134"/>
                </a:cubicBezTo>
                <a:cubicBezTo>
                  <a:pt x="1076135" y="1390467"/>
                  <a:pt x="1076706" y="1385799"/>
                  <a:pt x="1076897" y="1381132"/>
                </a:cubicBezTo>
                <a:cubicBezTo>
                  <a:pt x="1076897" y="1381037"/>
                  <a:pt x="1076611" y="1381418"/>
                  <a:pt x="1076611" y="1381418"/>
                </a:cubicBezTo>
                <a:close/>
                <a:moveTo>
                  <a:pt x="667702" y="897929"/>
                </a:moveTo>
                <a:cubicBezTo>
                  <a:pt x="667607" y="919265"/>
                  <a:pt x="650843" y="935362"/>
                  <a:pt x="629412" y="934981"/>
                </a:cubicBezTo>
                <a:cubicBezTo>
                  <a:pt x="608743" y="934600"/>
                  <a:pt x="592931" y="918217"/>
                  <a:pt x="593027" y="897453"/>
                </a:cubicBezTo>
                <a:cubicBezTo>
                  <a:pt x="593122" y="876212"/>
                  <a:pt x="609886" y="860019"/>
                  <a:pt x="631317" y="860400"/>
                </a:cubicBezTo>
                <a:cubicBezTo>
                  <a:pt x="651986" y="860781"/>
                  <a:pt x="667798" y="877069"/>
                  <a:pt x="667702" y="897929"/>
                </a:cubicBezTo>
                <a:close/>
                <a:moveTo>
                  <a:pt x="1051655" y="1261022"/>
                </a:moveTo>
                <a:cubicBezTo>
                  <a:pt x="1072801" y="1261308"/>
                  <a:pt x="1088803" y="1277976"/>
                  <a:pt x="1088422" y="1299312"/>
                </a:cubicBezTo>
                <a:cubicBezTo>
                  <a:pt x="1088041" y="1320458"/>
                  <a:pt x="1071182" y="1336269"/>
                  <a:pt x="1049750" y="1335698"/>
                </a:cubicBezTo>
                <a:cubicBezTo>
                  <a:pt x="1029176" y="1335126"/>
                  <a:pt x="1013555" y="1318839"/>
                  <a:pt x="1013651" y="1298074"/>
                </a:cubicBezTo>
                <a:cubicBezTo>
                  <a:pt x="1013746" y="1276929"/>
                  <a:pt x="1030319" y="1260831"/>
                  <a:pt x="1051655" y="1261022"/>
                </a:cubicBezTo>
                <a:close/>
                <a:moveTo>
                  <a:pt x="709327" y="948888"/>
                </a:moveTo>
                <a:cubicBezTo>
                  <a:pt x="688943" y="948506"/>
                  <a:pt x="672846" y="932028"/>
                  <a:pt x="673037" y="911550"/>
                </a:cubicBezTo>
                <a:cubicBezTo>
                  <a:pt x="673227" y="890595"/>
                  <a:pt x="690372" y="874212"/>
                  <a:pt x="711422" y="874878"/>
                </a:cubicBezTo>
                <a:cubicBezTo>
                  <a:pt x="731806" y="875545"/>
                  <a:pt x="747522" y="892404"/>
                  <a:pt x="747046" y="912978"/>
                </a:cubicBezTo>
                <a:cubicBezTo>
                  <a:pt x="746474" y="933267"/>
                  <a:pt x="729806" y="949269"/>
                  <a:pt x="709327" y="948888"/>
                </a:cubicBezTo>
                <a:close/>
                <a:moveTo>
                  <a:pt x="249365" y="786867"/>
                </a:moveTo>
                <a:cubicBezTo>
                  <a:pt x="228886" y="786772"/>
                  <a:pt x="212598" y="770484"/>
                  <a:pt x="212503" y="750101"/>
                </a:cubicBezTo>
                <a:cubicBezTo>
                  <a:pt x="212408" y="729051"/>
                  <a:pt x="229267" y="712477"/>
                  <a:pt x="250317" y="712858"/>
                </a:cubicBezTo>
                <a:cubicBezTo>
                  <a:pt x="270701" y="713239"/>
                  <a:pt x="286703" y="729908"/>
                  <a:pt x="286512" y="750387"/>
                </a:cubicBezTo>
                <a:cubicBezTo>
                  <a:pt x="286322" y="770770"/>
                  <a:pt x="269843" y="786963"/>
                  <a:pt x="249365" y="786867"/>
                </a:cubicBezTo>
                <a:close/>
                <a:moveTo>
                  <a:pt x="206883" y="735146"/>
                </a:moveTo>
                <a:cubicBezTo>
                  <a:pt x="207169" y="755625"/>
                  <a:pt x="190881" y="772294"/>
                  <a:pt x="170402" y="772580"/>
                </a:cubicBezTo>
                <a:cubicBezTo>
                  <a:pt x="149924" y="772866"/>
                  <a:pt x="133255" y="756578"/>
                  <a:pt x="132969" y="736099"/>
                </a:cubicBezTo>
                <a:cubicBezTo>
                  <a:pt x="132683" y="715620"/>
                  <a:pt x="148971" y="698952"/>
                  <a:pt x="169450" y="698666"/>
                </a:cubicBezTo>
                <a:cubicBezTo>
                  <a:pt x="190024" y="698475"/>
                  <a:pt x="206693" y="714763"/>
                  <a:pt x="206883" y="735146"/>
                </a:cubicBezTo>
                <a:close/>
                <a:moveTo>
                  <a:pt x="485585" y="755625"/>
                </a:moveTo>
                <a:cubicBezTo>
                  <a:pt x="505873" y="755721"/>
                  <a:pt x="522446" y="772389"/>
                  <a:pt x="522351" y="792678"/>
                </a:cubicBezTo>
                <a:cubicBezTo>
                  <a:pt x="522256" y="812966"/>
                  <a:pt x="505778" y="829349"/>
                  <a:pt x="485299" y="829444"/>
                </a:cubicBezTo>
                <a:cubicBezTo>
                  <a:pt x="465201" y="829539"/>
                  <a:pt x="448532" y="812680"/>
                  <a:pt x="448532" y="792392"/>
                </a:cubicBezTo>
                <a:cubicBezTo>
                  <a:pt x="448628" y="772104"/>
                  <a:pt x="465296" y="755530"/>
                  <a:pt x="485585" y="755625"/>
                </a:cubicBezTo>
                <a:close/>
                <a:moveTo>
                  <a:pt x="403955" y="815442"/>
                </a:moveTo>
                <a:cubicBezTo>
                  <a:pt x="385382" y="815538"/>
                  <a:pt x="368903" y="798107"/>
                  <a:pt x="368808" y="778390"/>
                </a:cubicBezTo>
                <a:cubicBezTo>
                  <a:pt x="368713" y="757911"/>
                  <a:pt x="385001" y="741433"/>
                  <a:pt x="405479" y="741243"/>
                </a:cubicBezTo>
                <a:cubicBezTo>
                  <a:pt x="425958" y="741052"/>
                  <a:pt x="442532" y="757149"/>
                  <a:pt x="442913" y="777628"/>
                </a:cubicBezTo>
                <a:cubicBezTo>
                  <a:pt x="443198" y="799250"/>
                  <a:pt x="426625" y="815347"/>
                  <a:pt x="403955" y="815442"/>
                </a:cubicBezTo>
                <a:close/>
                <a:moveTo>
                  <a:pt x="1179671" y="1523055"/>
                </a:moveTo>
                <a:cubicBezTo>
                  <a:pt x="1158621" y="1523436"/>
                  <a:pt x="1142048" y="1506957"/>
                  <a:pt x="1141952" y="1485621"/>
                </a:cubicBezTo>
                <a:cubicBezTo>
                  <a:pt x="1141857" y="1465523"/>
                  <a:pt x="1158526" y="1449045"/>
                  <a:pt x="1178909" y="1448950"/>
                </a:cubicBezTo>
                <a:cubicBezTo>
                  <a:pt x="1199388" y="1448950"/>
                  <a:pt x="1215771" y="1465143"/>
                  <a:pt x="1215962" y="1485621"/>
                </a:cubicBezTo>
                <a:cubicBezTo>
                  <a:pt x="1216152" y="1506100"/>
                  <a:pt x="1200055" y="1522673"/>
                  <a:pt x="1179671" y="1523055"/>
                </a:cubicBezTo>
                <a:close/>
                <a:moveTo>
                  <a:pt x="328898" y="801060"/>
                </a:moveTo>
                <a:cubicBezTo>
                  <a:pt x="308420" y="800964"/>
                  <a:pt x="292132" y="784677"/>
                  <a:pt x="292037" y="764198"/>
                </a:cubicBezTo>
                <a:cubicBezTo>
                  <a:pt x="291941" y="743147"/>
                  <a:pt x="308896" y="726574"/>
                  <a:pt x="329946" y="727050"/>
                </a:cubicBezTo>
                <a:cubicBezTo>
                  <a:pt x="350330" y="727527"/>
                  <a:pt x="366332" y="744100"/>
                  <a:pt x="366046" y="764579"/>
                </a:cubicBezTo>
                <a:cubicBezTo>
                  <a:pt x="365855" y="785058"/>
                  <a:pt x="349377" y="801155"/>
                  <a:pt x="328898" y="801060"/>
                </a:cubicBezTo>
                <a:close/>
                <a:moveTo>
                  <a:pt x="855059" y="1056901"/>
                </a:moveTo>
                <a:cubicBezTo>
                  <a:pt x="834581" y="1056996"/>
                  <a:pt x="818102" y="1040804"/>
                  <a:pt x="817912" y="1020420"/>
                </a:cubicBezTo>
                <a:cubicBezTo>
                  <a:pt x="817626" y="999370"/>
                  <a:pt x="834485" y="982606"/>
                  <a:pt x="855440" y="982892"/>
                </a:cubicBezTo>
                <a:cubicBezTo>
                  <a:pt x="875824" y="983178"/>
                  <a:pt x="892016" y="999656"/>
                  <a:pt x="891921" y="1020135"/>
                </a:cubicBezTo>
                <a:cubicBezTo>
                  <a:pt x="891826" y="1040518"/>
                  <a:pt x="875538" y="1056806"/>
                  <a:pt x="855059" y="1056901"/>
                </a:cubicBezTo>
                <a:close/>
                <a:moveTo>
                  <a:pt x="1164527" y="1312933"/>
                </a:moveTo>
                <a:cubicBezTo>
                  <a:pt x="1164336" y="1333126"/>
                  <a:pt x="1147191" y="1349795"/>
                  <a:pt x="1127093" y="1349414"/>
                </a:cubicBezTo>
                <a:cubicBezTo>
                  <a:pt x="1106900" y="1349033"/>
                  <a:pt x="1090422" y="1331793"/>
                  <a:pt x="1090994" y="1311695"/>
                </a:cubicBezTo>
                <a:cubicBezTo>
                  <a:pt x="1091565" y="1292073"/>
                  <a:pt x="1108139" y="1275976"/>
                  <a:pt x="1127665" y="1275881"/>
                </a:cubicBezTo>
                <a:cubicBezTo>
                  <a:pt x="1147858" y="1275786"/>
                  <a:pt x="1164717" y="1292740"/>
                  <a:pt x="1164527" y="1312933"/>
                </a:cubicBezTo>
                <a:close/>
                <a:moveTo>
                  <a:pt x="1033748" y="1129863"/>
                </a:moveTo>
                <a:cubicBezTo>
                  <a:pt x="1032510" y="1150055"/>
                  <a:pt x="1014698" y="1165867"/>
                  <a:pt x="994696" y="1164629"/>
                </a:cubicBezTo>
                <a:cubicBezTo>
                  <a:pt x="974693" y="1163391"/>
                  <a:pt x="958787" y="1145103"/>
                  <a:pt x="960406" y="1125195"/>
                </a:cubicBezTo>
                <a:cubicBezTo>
                  <a:pt x="961930" y="1105574"/>
                  <a:pt x="979265" y="1090239"/>
                  <a:pt x="998696" y="1091191"/>
                </a:cubicBezTo>
                <a:cubicBezTo>
                  <a:pt x="1018889" y="1092144"/>
                  <a:pt x="1034987" y="1109955"/>
                  <a:pt x="1033748" y="1129863"/>
                </a:cubicBezTo>
                <a:close/>
                <a:moveTo>
                  <a:pt x="91535" y="684569"/>
                </a:moveTo>
                <a:cubicBezTo>
                  <a:pt x="111823" y="685236"/>
                  <a:pt x="128111" y="702666"/>
                  <a:pt x="127254" y="722859"/>
                </a:cubicBezTo>
                <a:cubicBezTo>
                  <a:pt x="126397" y="743147"/>
                  <a:pt x="108776" y="759245"/>
                  <a:pt x="88583" y="758197"/>
                </a:cubicBezTo>
                <a:cubicBezTo>
                  <a:pt x="68866" y="757149"/>
                  <a:pt x="53150" y="740290"/>
                  <a:pt x="53626" y="720573"/>
                </a:cubicBezTo>
                <a:cubicBezTo>
                  <a:pt x="54007" y="700380"/>
                  <a:pt x="71247" y="683997"/>
                  <a:pt x="91535" y="684569"/>
                </a:cubicBezTo>
                <a:close/>
                <a:moveTo>
                  <a:pt x="1099280" y="1218921"/>
                </a:moveTo>
                <a:cubicBezTo>
                  <a:pt x="1099185" y="1239210"/>
                  <a:pt x="1082231" y="1255878"/>
                  <a:pt x="1061942" y="1255593"/>
                </a:cubicBezTo>
                <a:cubicBezTo>
                  <a:pt x="1041654" y="1255307"/>
                  <a:pt x="1025176" y="1238257"/>
                  <a:pt x="1025557" y="1217969"/>
                </a:cubicBezTo>
                <a:cubicBezTo>
                  <a:pt x="1026033" y="1198252"/>
                  <a:pt x="1042416" y="1182060"/>
                  <a:pt x="1062133" y="1181964"/>
                </a:cubicBezTo>
                <a:cubicBezTo>
                  <a:pt x="1082516" y="1181869"/>
                  <a:pt x="1099280" y="1198633"/>
                  <a:pt x="1099280" y="1218921"/>
                </a:cubicBezTo>
                <a:close/>
                <a:moveTo>
                  <a:pt x="971074" y="1034803"/>
                </a:moveTo>
                <a:cubicBezTo>
                  <a:pt x="970598" y="1054329"/>
                  <a:pt x="953643" y="1070903"/>
                  <a:pt x="934212" y="1070617"/>
                </a:cubicBezTo>
                <a:cubicBezTo>
                  <a:pt x="914210" y="1070427"/>
                  <a:pt x="897160" y="1052520"/>
                  <a:pt x="898017" y="1032708"/>
                </a:cubicBezTo>
                <a:cubicBezTo>
                  <a:pt x="898874" y="1013086"/>
                  <a:pt x="916210" y="996894"/>
                  <a:pt x="935546" y="997560"/>
                </a:cubicBezTo>
                <a:cubicBezTo>
                  <a:pt x="955072" y="998227"/>
                  <a:pt x="971455" y="1015372"/>
                  <a:pt x="971074" y="1034803"/>
                </a:cubicBezTo>
                <a:close/>
                <a:moveTo>
                  <a:pt x="47434" y="707524"/>
                </a:moveTo>
                <a:cubicBezTo>
                  <a:pt x="47244" y="727622"/>
                  <a:pt x="29813" y="744576"/>
                  <a:pt x="9716" y="743910"/>
                </a:cubicBezTo>
                <a:cubicBezTo>
                  <a:pt x="6382" y="743814"/>
                  <a:pt x="3143" y="743052"/>
                  <a:pt x="0" y="742100"/>
                </a:cubicBezTo>
                <a:lnTo>
                  <a:pt x="0" y="672377"/>
                </a:lnTo>
                <a:cubicBezTo>
                  <a:pt x="3715" y="671138"/>
                  <a:pt x="7620" y="670377"/>
                  <a:pt x="11716" y="670567"/>
                </a:cubicBezTo>
                <a:cubicBezTo>
                  <a:pt x="31433" y="671138"/>
                  <a:pt x="47625" y="687998"/>
                  <a:pt x="47434" y="707524"/>
                </a:cubicBezTo>
                <a:close/>
                <a:moveTo>
                  <a:pt x="1210437" y="1590587"/>
                </a:moveTo>
                <a:cubicBezTo>
                  <a:pt x="1208723" y="1586396"/>
                  <a:pt x="1207675" y="1581824"/>
                  <a:pt x="1207675" y="1577061"/>
                </a:cubicBezTo>
                <a:cubicBezTo>
                  <a:pt x="1207675" y="1556964"/>
                  <a:pt x="1225010" y="1539914"/>
                  <a:pt x="1245013" y="1540390"/>
                </a:cubicBezTo>
                <a:cubicBezTo>
                  <a:pt x="1264634" y="1540771"/>
                  <a:pt x="1281017" y="1557440"/>
                  <a:pt x="1281017" y="1577061"/>
                </a:cubicBezTo>
                <a:cubicBezTo>
                  <a:pt x="1281017" y="1581824"/>
                  <a:pt x="1279970" y="1586396"/>
                  <a:pt x="1278255" y="1590682"/>
                </a:cubicBezTo>
                <a:lnTo>
                  <a:pt x="1210437" y="1590682"/>
                </a:lnTo>
                <a:close/>
                <a:moveTo>
                  <a:pt x="1229678" y="1406183"/>
                </a:moveTo>
                <a:cubicBezTo>
                  <a:pt x="1229868" y="1425614"/>
                  <a:pt x="1213295" y="1442568"/>
                  <a:pt x="1193768" y="1442949"/>
                </a:cubicBezTo>
                <a:cubicBezTo>
                  <a:pt x="1173861" y="1443330"/>
                  <a:pt x="1156335" y="1425900"/>
                  <a:pt x="1156716" y="1405992"/>
                </a:cubicBezTo>
                <a:cubicBezTo>
                  <a:pt x="1157002" y="1386466"/>
                  <a:pt x="1173956" y="1369893"/>
                  <a:pt x="1193387" y="1369988"/>
                </a:cubicBezTo>
                <a:cubicBezTo>
                  <a:pt x="1212818" y="1369988"/>
                  <a:pt x="1229487" y="1386656"/>
                  <a:pt x="1229678" y="1406183"/>
                </a:cubicBezTo>
                <a:close/>
                <a:moveTo>
                  <a:pt x="644557" y="854495"/>
                </a:moveTo>
                <a:cubicBezTo>
                  <a:pt x="625221" y="854495"/>
                  <a:pt x="608362" y="837826"/>
                  <a:pt x="608171" y="818395"/>
                </a:cubicBezTo>
                <a:cubicBezTo>
                  <a:pt x="607981" y="798488"/>
                  <a:pt x="625507" y="781152"/>
                  <a:pt x="645319" y="781629"/>
                </a:cubicBezTo>
                <a:cubicBezTo>
                  <a:pt x="664750" y="782105"/>
                  <a:pt x="681228" y="799059"/>
                  <a:pt x="681038" y="818395"/>
                </a:cubicBezTo>
                <a:cubicBezTo>
                  <a:pt x="680752" y="837921"/>
                  <a:pt x="663988" y="854495"/>
                  <a:pt x="644557" y="854495"/>
                </a:cubicBezTo>
                <a:close/>
                <a:moveTo>
                  <a:pt x="826199" y="927552"/>
                </a:moveTo>
                <a:cubicBezTo>
                  <a:pt x="825246" y="947745"/>
                  <a:pt x="807244" y="964032"/>
                  <a:pt x="787337" y="962699"/>
                </a:cubicBezTo>
                <a:cubicBezTo>
                  <a:pt x="767620" y="961365"/>
                  <a:pt x="751999" y="944030"/>
                  <a:pt x="752856" y="924599"/>
                </a:cubicBezTo>
                <a:cubicBezTo>
                  <a:pt x="753809" y="904406"/>
                  <a:pt x="771811" y="888118"/>
                  <a:pt x="791718" y="889452"/>
                </a:cubicBezTo>
                <a:cubicBezTo>
                  <a:pt x="811435" y="890785"/>
                  <a:pt x="827151" y="908121"/>
                  <a:pt x="826199" y="927552"/>
                </a:cubicBezTo>
                <a:close/>
                <a:moveTo>
                  <a:pt x="563023" y="840493"/>
                </a:moveTo>
                <a:cubicBezTo>
                  <a:pt x="542830" y="839255"/>
                  <a:pt x="526733" y="821062"/>
                  <a:pt x="528447" y="801155"/>
                </a:cubicBezTo>
                <a:cubicBezTo>
                  <a:pt x="530066" y="781438"/>
                  <a:pt x="547592" y="766008"/>
                  <a:pt x="567023" y="767246"/>
                </a:cubicBezTo>
                <a:cubicBezTo>
                  <a:pt x="587216" y="768484"/>
                  <a:pt x="603314" y="786677"/>
                  <a:pt x="601599" y="806584"/>
                </a:cubicBezTo>
                <a:cubicBezTo>
                  <a:pt x="599980" y="826301"/>
                  <a:pt x="582454" y="841731"/>
                  <a:pt x="563023" y="840493"/>
                </a:cubicBezTo>
                <a:close/>
                <a:moveTo>
                  <a:pt x="1258157" y="1536294"/>
                </a:moveTo>
                <a:cubicBezTo>
                  <a:pt x="1238536" y="1536009"/>
                  <a:pt x="1222057" y="1518959"/>
                  <a:pt x="1222534" y="1499528"/>
                </a:cubicBezTo>
                <a:cubicBezTo>
                  <a:pt x="1223105" y="1479906"/>
                  <a:pt x="1240346" y="1463523"/>
                  <a:pt x="1259681" y="1464285"/>
                </a:cubicBezTo>
                <a:cubicBezTo>
                  <a:pt x="1278827" y="1465047"/>
                  <a:pt x="1294638" y="1481335"/>
                  <a:pt x="1294638" y="1500385"/>
                </a:cubicBezTo>
                <a:cubicBezTo>
                  <a:pt x="1294543" y="1519816"/>
                  <a:pt x="1277588" y="1536485"/>
                  <a:pt x="1258157" y="1536294"/>
                </a:cubicBezTo>
                <a:close/>
                <a:moveTo>
                  <a:pt x="905161" y="939839"/>
                </a:moveTo>
                <a:cubicBezTo>
                  <a:pt x="905447" y="959365"/>
                  <a:pt x="888778" y="976224"/>
                  <a:pt x="869252" y="976320"/>
                </a:cubicBezTo>
                <a:cubicBezTo>
                  <a:pt x="849725" y="976415"/>
                  <a:pt x="832961" y="959555"/>
                  <a:pt x="833152" y="940029"/>
                </a:cubicBezTo>
                <a:cubicBezTo>
                  <a:pt x="833342" y="920979"/>
                  <a:pt x="849249" y="904787"/>
                  <a:pt x="868394" y="904311"/>
                </a:cubicBezTo>
                <a:cubicBezTo>
                  <a:pt x="887825" y="903739"/>
                  <a:pt x="904875" y="920217"/>
                  <a:pt x="905161" y="939839"/>
                </a:cubicBezTo>
                <a:close/>
                <a:moveTo>
                  <a:pt x="299466" y="669614"/>
                </a:moveTo>
                <a:cubicBezTo>
                  <a:pt x="299847" y="689331"/>
                  <a:pt x="283464" y="706000"/>
                  <a:pt x="263747" y="706000"/>
                </a:cubicBezTo>
                <a:cubicBezTo>
                  <a:pt x="244507" y="706000"/>
                  <a:pt x="228505" y="690284"/>
                  <a:pt x="228124" y="670948"/>
                </a:cubicBezTo>
                <a:cubicBezTo>
                  <a:pt x="227743" y="651231"/>
                  <a:pt x="244126" y="634563"/>
                  <a:pt x="263843" y="634563"/>
                </a:cubicBezTo>
                <a:cubicBezTo>
                  <a:pt x="282988" y="634658"/>
                  <a:pt x="299085" y="650374"/>
                  <a:pt x="299466" y="669614"/>
                </a:cubicBezTo>
                <a:close/>
                <a:moveTo>
                  <a:pt x="1177576" y="1235114"/>
                </a:moveTo>
                <a:cubicBezTo>
                  <a:pt x="1176242" y="1255116"/>
                  <a:pt x="1158812" y="1270261"/>
                  <a:pt x="1139190" y="1268547"/>
                </a:cubicBezTo>
                <a:cubicBezTo>
                  <a:pt x="1119759" y="1266832"/>
                  <a:pt x="1105186" y="1250068"/>
                  <a:pt x="1106424" y="1230923"/>
                </a:cubicBezTo>
                <a:cubicBezTo>
                  <a:pt x="1107758" y="1210920"/>
                  <a:pt x="1125188" y="1195776"/>
                  <a:pt x="1144810" y="1197490"/>
                </a:cubicBezTo>
                <a:cubicBezTo>
                  <a:pt x="1164241" y="1199300"/>
                  <a:pt x="1178814" y="1215969"/>
                  <a:pt x="1177576" y="1235114"/>
                </a:cubicBezTo>
                <a:close/>
                <a:moveTo>
                  <a:pt x="724948" y="868020"/>
                </a:moveTo>
                <a:cubicBezTo>
                  <a:pt x="705231" y="868496"/>
                  <a:pt x="688562" y="852113"/>
                  <a:pt x="688562" y="832302"/>
                </a:cubicBezTo>
                <a:cubicBezTo>
                  <a:pt x="688562" y="813061"/>
                  <a:pt x="704279" y="797059"/>
                  <a:pt x="723519" y="796583"/>
                </a:cubicBezTo>
                <a:cubicBezTo>
                  <a:pt x="743236" y="796106"/>
                  <a:pt x="759904" y="812489"/>
                  <a:pt x="759904" y="832302"/>
                </a:cubicBezTo>
                <a:cubicBezTo>
                  <a:pt x="759904" y="851542"/>
                  <a:pt x="744188" y="867544"/>
                  <a:pt x="724948" y="868020"/>
                </a:cubicBezTo>
                <a:close/>
                <a:moveTo>
                  <a:pt x="1112234" y="1141293"/>
                </a:moveTo>
                <a:cubicBezTo>
                  <a:pt x="1110996" y="1161295"/>
                  <a:pt x="1093661" y="1176440"/>
                  <a:pt x="1073944" y="1174821"/>
                </a:cubicBezTo>
                <a:cubicBezTo>
                  <a:pt x="1054513" y="1173201"/>
                  <a:pt x="1039844" y="1156437"/>
                  <a:pt x="1041083" y="1137292"/>
                </a:cubicBezTo>
                <a:cubicBezTo>
                  <a:pt x="1042321" y="1117289"/>
                  <a:pt x="1059656" y="1102145"/>
                  <a:pt x="1079373" y="1103764"/>
                </a:cubicBezTo>
                <a:cubicBezTo>
                  <a:pt x="1098804" y="1105383"/>
                  <a:pt x="1113473" y="1122147"/>
                  <a:pt x="1112234" y="1141293"/>
                </a:cubicBezTo>
                <a:close/>
                <a:moveTo>
                  <a:pt x="219647" y="656279"/>
                </a:moveTo>
                <a:cubicBezTo>
                  <a:pt x="219551" y="675806"/>
                  <a:pt x="203835" y="691427"/>
                  <a:pt x="184309" y="691522"/>
                </a:cubicBezTo>
                <a:cubicBezTo>
                  <a:pt x="164306" y="691617"/>
                  <a:pt x="148114" y="675139"/>
                  <a:pt x="148685" y="655137"/>
                </a:cubicBezTo>
                <a:cubicBezTo>
                  <a:pt x="149162" y="635610"/>
                  <a:pt x="165259" y="620275"/>
                  <a:pt x="184690" y="620561"/>
                </a:cubicBezTo>
                <a:cubicBezTo>
                  <a:pt x="204216" y="620942"/>
                  <a:pt x="219742" y="636753"/>
                  <a:pt x="219647" y="656279"/>
                </a:cubicBezTo>
                <a:close/>
                <a:moveTo>
                  <a:pt x="376047" y="686569"/>
                </a:moveTo>
                <a:cubicBezTo>
                  <a:pt x="374714" y="706571"/>
                  <a:pt x="357283" y="721716"/>
                  <a:pt x="337661" y="720002"/>
                </a:cubicBezTo>
                <a:cubicBezTo>
                  <a:pt x="318230" y="718287"/>
                  <a:pt x="303657" y="701523"/>
                  <a:pt x="304895" y="682378"/>
                </a:cubicBezTo>
                <a:cubicBezTo>
                  <a:pt x="306229" y="662376"/>
                  <a:pt x="323660" y="647231"/>
                  <a:pt x="343281" y="648945"/>
                </a:cubicBezTo>
                <a:cubicBezTo>
                  <a:pt x="362807" y="650755"/>
                  <a:pt x="377381" y="667424"/>
                  <a:pt x="376047" y="686569"/>
                </a:cubicBezTo>
                <a:close/>
                <a:moveTo>
                  <a:pt x="1011079" y="1083762"/>
                </a:moveTo>
                <a:cubicBezTo>
                  <a:pt x="991552" y="1083666"/>
                  <a:pt x="975932" y="1067950"/>
                  <a:pt x="975836" y="1048424"/>
                </a:cubicBezTo>
                <a:cubicBezTo>
                  <a:pt x="975741" y="1028421"/>
                  <a:pt x="992219" y="1012229"/>
                  <a:pt x="1012222" y="1012800"/>
                </a:cubicBezTo>
                <a:cubicBezTo>
                  <a:pt x="1031748" y="1013277"/>
                  <a:pt x="1047083" y="1029374"/>
                  <a:pt x="1046798" y="1048805"/>
                </a:cubicBezTo>
                <a:cubicBezTo>
                  <a:pt x="1046417" y="1068331"/>
                  <a:pt x="1030510" y="1083857"/>
                  <a:pt x="1011079" y="1083762"/>
                </a:cubicBezTo>
                <a:close/>
                <a:moveTo>
                  <a:pt x="418052" y="734289"/>
                </a:moveTo>
                <a:cubicBezTo>
                  <a:pt x="398050" y="732956"/>
                  <a:pt x="382905" y="715620"/>
                  <a:pt x="384620" y="695999"/>
                </a:cubicBezTo>
                <a:cubicBezTo>
                  <a:pt x="386334" y="676568"/>
                  <a:pt x="403003" y="661899"/>
                  <a:pt x="422148" y="663138"/>
                </a:cubicBezTo>
                <a:cubicBezTo>
                  <a:pt x="442151" y="664471"/>
                  <a:pt x="457295" y="681806"/>
                  <a:pt x="455581" y="701428"/>
                </a:cubicBezTo>
                <a:cubicBezTo>
                  <a:pt x="453962" y="720859"/>
                  <a:pt x="437198" y="735528"/>
                  <a:pt x="418052" y="734289"/>
                </a:cubicBezTo>
                <a:close/>
                <a:moveTo>
                  <a:pt x="980694" y="954031"/>
                </a:moveTo>
                <a:cubicBezTo>
                  <a:pt x="980980" y="974034"/>
                  <a:pt x="965930" y="989273"/>
                  <a:pt x="946023" y="989369"/>
                </a:cubicBezTo>
                <a:cubicBezTo>
                  <a:pt x="926116" y="989464"/>
                  <a:pt x="910971" y="974319"/>
                  <a:pt x="911066" y="954317"/>
                </a:cubicBezTo>
                <a:cubicBezTo>
                  <a:pt x="911162" y="934981"/>
                  <a:pt x="925735" y="920122"/>
                  <a:pt x="944975" y="919741"/>
                </a:cubicBezTo>
                <a:cubicBezTo>
                  <a:pt x="964978" y="919265"/>
                  <a:pt x="980408" y="934124"/>
                  <a:pt x="980694" y="954031"/>
                </a:cubicBezTo>
                <a:close/>
                <a:moveTo>
                  <a:pt x="1289018" y="1590587"/>
                </a:moveTo>
                <a:cubicBezTo>
                  <a:pt x="1289018" y="1590492"/>
                  <a:pt x="1288923" y="1590492"/>
                  <a:pt x="1289018" y="1590587"/>
                </a:cubicBezTo>
                <a:cubicBezTo>
                  <a:pt x="1289304" y="1570775"/>
                  <a:pt x="1304735" y="1556011"/>
                  <a:pt x="1324642" y="1556297"/>
                </a:cubicBezTo>
                <a:cubicBezTo>
                  <a:pt x="1343978" y="1556583"/>
                  <a:pt x="1358456" y="1571346"/>
                  <a:pt x="1358837" y="1590587"/>
                </a:cubicBezTo>
                <a:lnTo>
                  <a:pt x="1289018" y="1590587"/>
                </a:lnTo>
                <a:close/>
                <a:moveTo>
                  <a:pt x="1271588" y="1455427"/>
                </a:moveTo>
                <a:cubicBezTo>
                  <a:pt x="1251871" y="1454855"/>
                  <a:pt x="1237298" y="1439139"/>
                  <a:pt x="1237964" y="1419042"/>
                </a:cubicBezTo>
                <a:cubicBezTo>
                  <a:pt x="1238726" y="1399325"/>
                  <a:pt x="1254538" y="1384942"/>
                  <a:pt x="1274636" y="1385799"/>
                </a:cubicBezTo>
                <a:cubicBezTo>
                  <a:pt x="1293781" y="1386656"/>
                  <a:pt x="1307878" y="1401897"/>
                  <a:pt x="1307497" y="1421423"/>
                </a:cubicBezTo>
                <a:cubicBezTo>
                  <a:pt x="1307116" y="1441235"/>
                  <a:pt x="1291590" y="1455998"/>
                  <a:pt x="1271588" y="1455427"/>
                </a:cubicBezTo>
                <a:close/>
                <a:moveTo>
                  <a:pt x="1242632" y="1326268"/>
                </a:moveTo>
                <a:cubicBezTo>
                  <a:pt x="1242917" y="1345889"/>
                  <a:pt x="1227773" y="1361606"/>
                  <a:pt x="1208246" y="1362082"/>
                </a:cubicBezTo>
                <a:cubicBezTo>
                  <a:pt x="1188053" y="1362558"/>
                  <a:pt x="1172051" y="1346747"/>
                  <a:pt x="1172147" y="1326649"/>
                </a:cubicBezTo>
                <a:cubicBezTo>
                  <a:pt x="1172242" y="1307028"/>
                  <a:pt x="1187577" y="1291692"/>
                  <a:pt x="1207199" y="1291597"/>
                </a:cubicBezTo>
                <a:cubicBezTo>
                  <a:pt x="1226820" y="1291502"/>
                  <a:pt x="1242346" y="1306742"/>
                  <a:pt x="1242632" y="1326268"/>
                </a:cubicBezTo>
                <a:close/>
                <a:moveTo>
                  <a:pt x="139637" y="642563"/>
                </a:moveTo>
                <a:cubicBezTo>
                  <a:pt x="139351" y="662280"/>
                  <a:pt x="123730" y="677330"/>
                  <a:pt x="103918" y="677044"/>
                </a:cubicBezTo>
                <a:cubicBezTo>
                  <a:pt x="84201" y="676758"/>
                  <a:pt x="69152" y="661137"/>
                  <a:pt x="69437" y="641325"/>
                </a:cubicBezTo>
                <a:cubicBezTo>
                  <a:pt x="69723" y="621609"/>
                  <a:pt x="85344" y="606559"/>
                  <a:pt x="105156" y="606845"/>
                </a:cubicBezTo>
                <a:cubicBezTo>
                  <a:pt x="124968" y="607130"/>
                  <a:pt x="140018" y="622752"/>
                  <a:pt x="139637" y="642563"/>
                </a:cubicBezTo>
                <a:close/>
                <a:moveTo>
                  <a:pt x="500063" y="748196"/>
                </a:moveTo>
                <a:cubicBezTo>
                  <a:pt x="480441" y="748481"/>
                  <a:pt x="464820" y="733337"/>
                  <a:pt x="464344" y="713715"/>
                </a:cubicBezTo>
                <a:cubicBezTo>
                  <a:pt x="463868" y="693522"/>
                  <a:pt x="479774" y="677520"/>
                  <a:pt x="499872" y="677616"/>
                </a:cubicBezTo>
                <a:cubicBezTo>
                  <a:pt x="519494" y="677806"/>
                  <a:pt x="534829" y="693141"/>
                  <a:pt x="534829" y="712763"/>
                </a:cubicBezTo>
                <a:cubicBezTo>
                  <a:pt x="534924" y="732479"/>
                  <a:pt x="519684" y="747910"/>
                  <a:pt x="500063" y="748196"/>
                </a:cubicBezTo>
                <a:close/>
                <a:moveTo>
                  <a:pt x="544449" y="726574"/>
                </a:moveTo>
                <a:cubicBezTo>
                  <a:pt x="544735" y="706762"/>
                  <a:pt x="560165" y="691903"/>
                  <a:pt x="580168" y="692379"/>
                </a:cubicBezTo>
                <a:cubicBezTo>
                  <a:pt x="599980" y="692855"/>
                  <a:pt x="614648" y="708477"/>
                  <a:pt x="613982" y="728479"/>
                </a:cubicBezTo>
                <a:cubicBezTo>
                  <a:pt x="613410" y="747720"/>
                  <a:pt x="598361" y="762102"/>
                  <a:pt x="578930" y="762007"/>
                </a:cubicBezTo>
                <a:cubicBezTo>
                  <a:pt x="559118" y="761817"/>
                  <a:pt x="544163" y="746481"/>
                  <a:pt x="544449" y="726574"/>
                </a:cubicBezTo>
                <a:close/>
                <a:moveTo>
                  <a:pt x="838581" y="846018"/>
                </a:moveTo>
                <a:cubicBezTo>
                  <a:pt x="838867" y="866020"/>
                  <a:pt x="823817" y="881260"/>
                  <a:pt x="803910" y="881355"/>
                </a:cubicBezTo>
                <a:cubicBezTo>
                  <a:pt x="784003" y="881451"/>
                  <a:pt x="768858" y="866306"/>
                  <a:pt x="768953" y="846303"/>
                </a:cubicBezTo>
                <a:cubicBezTo>
                  <a:pt x="769049" y="826968"/>
                  <a:pt x="783622" y="812109"/>
                  <a:pt x="802862" y="811728"/>
                </a:cubicBezTo>
                <a:cubicBezTo>
                  <a:pt x="822865" y="811346"/>
                  <a:pt x="838391" y="826110"/>
                  <a:pt x="838581" y="846018"/>
                </a:cubicBezTo>
                <a:close/>
                <a:moveTo>
                  <a:pt x="1155859" y="1119195"/>
                </a:moveTo>
                <a:cubicBezTo>
                  <a:pt x="1175004" y="1119004"/>
                  <a:pt x="1190149" y="1133768"/>
                  <a:pt x="1190530" y="1152818"/>
                </a:cubicBezTo>
                <a:cubicBezTo>
                  <a:pt x="1190816" y="1172535"/>
                  <a:pt x="1175576" y="1187965"/>
                  <a:pt x="1155859" y="1187775"/>
                </a:cubicBezTo>
                <a:cubicBezTo>
                  <a:pt x="1136809" y="1187584"/>
                  <a:pt x="1121950" y="1172535"/>
                  <a:pt x="1121950" y="1153389"/>
                </a:cubicBezTo>
                <a:cubicBezTo>
                  <a:pt x="1121950" y="1134339"/>
                  <a:pt x="1136809" y="1119290"/>
                  <a:pt x="1155859" y="1119195"/>
                </a:cubicBezTo>
                <a:close/>
                <a:moveTo>
                  <a:pt x="1125188" y="1062521"/>
                </a:moveTo>
                <a:cubicBezTo>
                  <a:pt x="1125188" y="1081666"/>
                  <a:pt x="1110329" y="1096620"/>
                  <a:pt x="1091184" y="1096811"/>
                </a:cubicBezTo>
                <a:cubicBezTo>
                  <a:pt x="1071467" y="1097001"/>
                  <a:pt x="1056227" y="1081476"/>
                  <a:pt x="1056513" y="1061759"/>
                </a:cubicBezTo>
                <a:cubicBezTo>
                  <a:pt x="1056894" y="1042709"/>
                  <a:pt x="1072039" y="1028040"/>
                  <a:pt x="1091184" y="1028231"/>
                </a:cubicBezTo>
                <a:cubicBezTo>
                  <a:pt x="1110329" y="1028421"/>
                  <a:pt x="1125188" y="1043376"/>
                  <a:pt x="1125188" y="1062521"/>
                </a:cubicBezTo>
                <a:close/>
                <a:moveTo>
                  <a:pt x="882968" y="894976"/>
                </a:moveTo>
                <a:cubicBezTo>
                  <a:pt x="864013" y="894786"/>
                  <a:pt x="849059" y="879736"/>
                  <a:pt x="849154" y="860686"/>
                </a:cubicBezTo>
                <a:cubicBezTo>
                  <a:pt x="849154" y="841160"/>
                  <a:pt x="864870" y="825920"/>
                  <a:pt x="884492" y="826491"/>
                </a:cubicBezTo>
                <a:cubicBezTo>
                  <a:pt x="903351" y="826968"/>
                  <a:pt x="918020" y="842493"/>
                  <a:pt x="917639" y="861448"/>
                </a:cubicBezTo>
                <a:cubicBezTo>
                  <a:pt x="917258" y="880403"/>
                  <a:pt x="902018" y="895167"/>
                  <a:pt x="882968" y="894976"/>
                </a:cubicBezTo>
                <a:close/>
                <a:moveTo>
                  <a:pt x="1372362" y="1514196"/>
                </a:moveTo>
                <a:cubicBezTo>
                  <a:pt x="1372457" y="1533246"/>
                  <a:pt x="1357598" y="1548391"/>
                  <a:pt x="1338644" y="1548581"/>
                </a:cubicBezTo>
                <a:cubicBezTo>
                  <a:pt x="1319022" y="1548867"/>
                  <a:pt x="1303592" y="1533437"/>
                  <a:pt x="1303877" y="1513815"/>
                </a:cubicBezTo>
                <a:cubicBezTo>
                  <a:pt x="1304163" y="1494861"/>
                  <a:pt x="1319308" y="1480002"/>
                  <a:pt x="1338263" y="1480097"/>
                </a:cubicBezTo>
                <a:cubicBezTo>
                  <a:pt x="1357313" y="1480287"/>
                  <a:pt x="1372267" y="1495242"/>
                  <a:pt x="1372362" y="1514196"/>
                </a:cubicBezTo>
                <a:close/>
                <a:moveTo>
                  <a:pt x="59722" y="627133"/>
                </a:moveTo>
                <a:cubicBezTo>
                  <a:pt x="59912" y="647040"/>
                  <a:pt x="44958" y="662280"/>
                  <a:pt x="25146" y="662280"/>
                </a:cubicBezTo>
                <a:cubicBezTo>
                  <a:pt x="15145" y="662280"/>
                  <a:pt x="6382" y="658470"/>
                  <a:pt x="95" y="652184"/>
                </a:cubicBezTo>
                <a:lnTo>
                  <a:pt x="95" y="603035"/>
                </a:lnTo>
                <a:cubicBezTo>
                  <a:pt x="6096" y="596844"/>
                  <a:pt x="14573" y="593129"/>
                  <a:pt x="24194" y="592938"/>
                </a:cubicBezTo>
                <a:cubicBezTo>
                  <a:pt x="44101" y="592557"/>
                  <a:pt x="59436" y="607416"/>
                  <a:pt x="59722" y="627133"/>
                </a:cubicBezTo>
                <a:close/>
                <a:moveTo>
                  <a:pt x="658844" y="704095"/>
                </a:moveTo>
                <a:cubicBezTo>
                  <a:pt x="678561" y="704095"/>
                  <a:pt x="693515" y="719430"/>
                  <a:pt x="693229" y="739242"/>
                </a:cubicBezTo>
                <a:cubicBezTo>
                  <a:pt x="692944" y="758292"/>
                  <a:pt x="677990" y="772961"/>
                  <a:pt x="658749" y="772866"/>
                </a:cubicBezTo>
                <a:cubicBezTo>
                  <a:pt x="639032" y="772866"/>
                  <a:pt x="624078" y="757530"/>
                  <a:pt x="624364" y="737718"/>
                </a:cubicBezTo>
                <a:cubicBezTo>
                  <a:pt x="624745" y="718668"/>
                  <a:pt x="639699" y="704095"/>
                  <a:pt x="658844" y="704095"/>
                </a:cubicBezTo>
                <a:close/>
                <a:moveTo>
                  <a:pt x="1221010" y="1213016"/>
                </a:moveTo>
                <a:cubicBezTo>
                  <a:pt x="1240060" y="1212730"/>
                  <a:pt x="1255395" y="1227398"/>
                  <a:pt x="1255776" y="1246353"/>
                </a:cubicBezTo>
                <a:cubicBezTo>
                  <a:pt x="1256252" y="1265975"/>
                  <a:pt x="1240917" y="1281596"/>
                  <a:pt x="1221391" y="1281501"/>
                </a:cubicBezTo>
                <a:cubicBezTo>
                  <a:pt x="1202436" y="1281405"/>
                  <a:pt x="1187387" y="1266451"/>
                  <a:pt x="1187291" y="1247496"/>
                </a:cubicBezTo>
                <a:cubicBezTo>
                  <a:pt x="1187196" y="1228446"/>
                  <a:pt x="1202055" y="1213302"/>
                  <a:pt x="1221010" y="1213016"/>
                </a:cubicBezTo>
                <a:close/>
                <a:moveTo>
                  <a:pt x="1287399" y="1375131"/>
                </a:moveTo>
                <a:cubicBezTo>
                  <a:pt x="1268540" y="1375322"/>
                  <a:pt x="1253109" y="1360272"/>
                  <a:pt x="1252919" y="1341413"/>
                </a:cubicBezTo>
                <a:cubicBezTo>
                  <a:pt x="1252728" y="1322553"/>
                  <a:pt x="1267873" y="1307123"/>
                  <a:pt x="1286637" y="1306932"/>
                </a:cubicBezTo>
                <a:cubicBezTo>
                  <a:pt x="1305497" y="1306742"/>
                  <a:pt x="1320927" y="1321791"/>
                  <a:pt x="1321118" y="1340651"/>
                </a:cubicBezTo>
                <a:cubicBezTo>
                  <a:pt x="1321308" y="1359510"/>
                  <a:pt x="1306163" y="1374941"/>
                  <a:pt x="1287399" y="1375131"/>
                </a:cubicBezTo>
                <a:close/>
                <a:moveTo>
                  <a:pt x="738473" y="718573"/>
                </a:moveTo>
                <a:cubicBezTo>
                  <a:pt x="757238" y="718668"/>
                  <a:pt x="772573" y="734004"/>
                  <a:pt x="772477" y="752768"/>
                </a:cubicBezTo>
                <a:cubicBezTo>
                  <a:pt x="772477" y="771532"/>
                  <a:pt x="757047" y="786867"/>
                  <a:pt x="738283" y="786772"/>
                </a:cubicBezTo>
                <a:cubicBezTo>
                  <a:pt x="719519" y="786677"/>
                  <a:pt x="704183" y="771342"/>
                  <a:pt x="704279" y="752577"/>
                </a:cubicBezTo>
                <a:cubicBezTo>
                  <a:pt x="704374" y="733813"/>
                  <a:pt x="719709" y="718573"/>
                  <a:pt x="738473" y="718573"/>
                </a:cubicBezTo>
                <a:close/>
                <a:moveTo>
                  <a:pt x="1025747" y="934600"/>
                </a:moveTo>
                <a:cubicBezTo>
                  <a:pt x="1044512" y="934695"/>
                  <a:pt x="1059752" y="950126"/>
                  <a:pt x="1059561" y="968985"/>
                </a:cubicBezTo>
                <a:cubicBezTo>
                  <a:pt x="1059466" y="987750"/>
                  <a:pt x="1044035" y="1002989"/>
                  <a:pt x="1025176" y="1002799"/>
                </a:cubicBezTo>
                <a:cubicBezTo>
                  <a:pt x="1006412" y="1002704"/>
                  <a:pt x="991172" y="987273"/>
                  <a:pt x="991362" y="968414"/>
                </a:cubicBezTo>
                <a:cubicBezTo>
                  <a:pt x="991457" y="949650"/>
                  <a:pt x="1006888" y="934505"/>
                  <a:pt x="1025747" y="934600"/>
                </a:cubicBezTo>
                <a:close/>
                <a:moveTo>
                  <a:pt x="164402" y="575888"/>
                </a:moveTo>
                <a:cubicBezTo>
                  <a:pt x="164783" y="557315"/>
                  <a:pt x="180785" y="541979"/>
                  <a:pt x="199358" y="542551"/>
                </a:cubicBezTo>
                <a:cubicBezTo>
                  <a:pt x="217932" y="543122"/>
                  <a:pt x="233077" y="559315"/>
                  <a:pt x="232315" y="577889"/>
                </a:cubicBezTo>
                <a:cubicBezTo>
                  <a:pt x="231553" y="595986"/>
                  <a:pt x="216122" y="610655"/>
                  <a:pt x="198120" y="610560"/>
                </a:cubicBezTo>
                <a:cubicBezTo>
                  <a:pt x="179451" y="610369"/>
                  <a:pt x="164020" y="594462"/>
                  <a:pt x="164402" y="575888"/>
                </a:cubicBezTo>
                <a:close/>
                <a:moveTo>
                  <a:pt x="119063" y="596081"/>
                </a:moveTo>
                <a:cubicBezTo>
                  <a:pt x="100584" y="596272"/>
                  <a:pt x="84677" y="580270"/>
                  <a:pt x="84963" y="561792"/>
                </a:cubicBezTo>
                <a:cubicBezTo>
                  <a:pt x="85249" y="543789"/>
                  <a:pt x="100584" y="528549"/>
                  <a:pt x="118491" y="528454"/>
                </a:cubicBezTo>
                <a:cubicBezTo>
                  <a:pt x="136970" y="528263"/>
                  <a:pt x="152876" y="544266"/>
                  <a:pt x="152591" y="562744"/>
                </a:cubicBezTo>
                <a:cubicBezTo>
                  <a:pt x="152400" y="580746"/>
                  <a:pt x="137065" y="595986"/>
                  <a:pt x="119063" y="596081"/>
                </a:cubicBezTo>
                <a:close/>
                <a:moveTo>
                  <a:pt x="513969" y="667138"/>
                </a:moveTo>
                <a:cubicBezTo>
                  <a:pt x="495490" y="667233"/>
                  <a:pt x="479679" y="651231"/>
                  <a:pt x="480060" y="632753"/>
                </a:cubicBezTo>
                <a:cubicBezTo>
                  <a:pt x="480441" y="614751"/>
                  <a:pt x="495776" y="599606"/>
                  <a:pt x="513779" y="599511"/>
                </a:cubicBezTo>
                <a:cubicBezTo>
                  <a:pt x="532257" y="599415"/>
                  <a:pt x="548069" y="615417"/>
                  <a:pt x="547688" y="633896"/>
                </a:cubicBezTo>
                <a:cubicBezTo>
                  <a:pt x="547307" y="651898"/>
                  <a:pt x="531971" y="667043"/>
                  <a:pt x="513969" y="667138"/>
                </a:cubicBezTo>
                <a:close/>
                <a:moveTo>
                  <a:pt x="434816" y="585128"/>
                </a:moveTo>
                <a:cubicBezTo>
                  <a:pt x="453390" y="585413"/>
                  <a:pt x="468725" y="601416"/>
                  <a:pt x="468249" y="619989"/>
                </a:cubicBezTo>
                <a:cubicBezTo>
                  <a:pt x="467773" y="638563"/>
                  <a:pt x="451580" y="653803"/>
                  <a:pt x="433007" y="653041"/>
                </a:cubicBezTo>
                <a:cubicBezTo>
                  <a:pt x="414909" y="652374"/>
                  <a:pt x="400145" y="636944"/>
                  <a:pt x="400240" y="618846"/>
                </a:cubicBezTo>
                <a:cubicBezTo>
                  <a:pt x="400431" y="600272"/>
                  <a:pt x="416243" y="584842"/>
                  <a:pt x="434816" y="585128"/>
                </a:cubicBezTo>
                <a:close/>
                <a:moveTo>
                  <a:pt x="354521" y="570840"/>
                </a:moveTo>
                <a:cubicBezTo>
                  <a:pt x="373285" y="570745"/>
                  <a:pt x="388811" y="586366"/>
                  <a:pt x="388715" y="605130"/>
                </a:cubicBezTo>
                <a:cubicBezTo>
                  <a:pt x="388620" y="623895"/>
                  <a:pt x="372904" y="639325"/>
                  <a:pt x="354139" y="639039"/>
                </a:cubicBezTo>
                <a:cubicBezTo>
                  <a:pt x="335947" y="638754"/>
                  <a:pt x="320897" y="623704"/>
                  <a:pt x="320612" y="605511"/>
                </a:cubicBezTo>
                <a:cubicBezTo>
                  <a:pt x="320326" y="586652"/>
                  <a:pt x="335756" y="570936"/>
                  <a:pt x="354521" y="570840"/>
                </a:cubicBezTo>
                <a:close/>
                <a:moveTo>
                  <a:pt x="312039" y="591129"/>
                </a:moveTo>
                <a:cubicBezTo>
                  <a:pt x="311849" y="609893"/>
                  <a:pt x="295942" y="625228"/>
                  <a:pt x="277178" y="624752"/>
                </a:cubicBezTo>
                <a:cubicBezTo>
                  <a:pt x="258413" y="624276"/>
                  <a:pt x="243269" y="608273"/>
                  <a:pt x="243935" y="589509"/>
                </a:cubicBezTo>
                <a:cubicBezTo>
                  <a:pt x="244507" y="571317"/>
                  <a:pt x="259937" y="556553"/>
                  <a:pt x="278035" y="556553"/>
                </a:cubicBezTo>
                <a:cubicBezTo>
                  <a:pt x="296799" y="556648"/>
                  <a:pt x="312230" y="572364"/>
                  <a:pt x="312039" y="591129"/>
                </a:cubicBezTo>
                <a:close/>
                <a:moveTo>
                  <a:pt x="993839" y="874688"/>
                </a:moveTo>
                <a:cubicBezTo>
                  <a:pt x="994029" y="892595"/>
                  <a:pt x="978789" y="908311"/>
                  <a:pt x="960692" y="908692"/>
                </a:cubicBezTo>
                <a:cubicBezTo>
                  <a:pt x="942213" y="909073"/>
                  <a:pt x="926021" y="893071"/>
                  <a:pt x="926306" y="874497"/>
                </a:cubicBezTo>
                <a:cubicBezTo>
                  <a:pt x="926592" y="856495"/>
                  <a:pt x="942118" y="841160"/>
                  <a:pt x="960120" y="841255"/>
                </a:cubicBezTo>
                <a:cubicBezTo>
                  <a:pt x="978218" y="841255"/>
                  <a:pt x="993648" y="856590"/>
                  <a:pt x="993839" y="874688"/>
                </a:cubicBezTo>
                <a:close/>
                <a:moveTo>
                  <a:pt x="593789" y="613893"/>
                </a:moveTo>
                <a:cubicBezTo>
                  <a:pt x="611886" y="614084"/>
                  <a:pt x="627317" y="629895"/>
                  <a:pt x="627126" y="647897"/>
                </a:cubicBezTo>
                <a:cubicBezTo>
                  <a:pt x="626936" y="665995"/>
                  <a:pt x="611219" y="681426"/>
                  <a:pt x="593122" y="681235"/>
                </a:cubicBezTo>
                <a:cubicBezTo>
                  <a:pt x="575024" y="681045"/>
                  <a:pt x="559594" y="665233"/>
                  <a:pt x="559784" y="647231"/>
                </a:cubicBezTo>
                <a:cubicBezTo>
                  <a:pt x="560070" y="629133"/>
                  <a:pt x="575786" y="613703"/>
                  <a:pt x="593789" y="613893"/>
                </a:cubicBezTo>
                <a:close/>
                <a:moveTo>
                  <a:pt x="1352836" y="1468572"/>
                </a:moveTo>
                <a:cubicBezTo>
                  <a:pt x="1334929" y="1468953"/>
                  <a:pt x="1319117" y="1453808"/>
                  <a:pt x="1318546" y="1435710"/>
                </a:cubicBezTo>
                <a:cubicBezTo>
                  <a:pt x="1317974" y="1417232"/>
                  <a:pt x="1333881" y="1400944"/>
                  <a:pt x="1352455" y="1401039"/>
                </a:cubicBezTo>
                <a:cubicBezTo>
                  <a:pt x="1370457" y="1401135"/>
                  <a:pt x="1385888" y="1416565"/>
                  <a:pt x="1385983" y="1434567"/>
                </a:cubicBezTo>
                <a:cubicBezTo>
                  <a:pt x="1386173" y="1452570"/>
                  <a:pt x="1370933" y="1468191"/>
                  <a:pt x="1352836" y="1468572"/>
                </a:cubicBezTo>
                <a:close/>
                <a:moveTo>
                  <a:pt x="1373505" y="1590587"/>
                </a:moveTo>
                <a:cubicBezTo>
                  <a:pt x="1379315" y="1579252"/>
                  <a:pt x="1391317" y="1571251"/>
                  <a:pt x="1404461" y="1571727"/>
                </a:cubicBezTo>
                <a:cubicBezTo>
                  <a:pt x="1416939" y="1572204"/>
                  <a:pt x="1427893" y="1580014"/>
                  <a:pt x="1433322" y="1590587"/>
                </a:cubicBezTo>
                <a:lnTo>
                  <a:pt x="1373505" y="1590587"/>
                </a:lnTo>
                <a:close/>
                <a:moveTo>
                  <a:pt x="818007" y="800679"/>
                </a:moveTo>
                <a:cubicBezTo>
                  <a:pt x="800005" y="800679"/>
                  <a:pt x="784479" y="785343"/>
                  <a:pt x="784193" y="767341"/>
                </a:cubicBezTo>
                <a:cubicBezTo>
                  <a:pt x="783908" y="748863"/>
                  <a:pt x="800100" y="732765"/>
                  <a:pt x="818579" y="733242"/>
                </a:cubicBezTo>
                <a:cubicBezTo>
                  <a:pt x="836581" y="733622"/>
                  <a:pt x="851821" y="749339"/>
                  <a:pt x="851630" y="767246"/>
                </a:cubicBezTo>
                <a:cubicBezTo>
                  <a:pt x="851535" y="785248"/>
                  <a:pt x="836009" y="800583"/>
                  <a:pt x="818007" y="800679"/>
                </a:cubicBezTo>
                <a:close/>
                <a:moveTo>
                  <a:pt x="39624" y="581604"/>
                </a:moveTo>
                <a:cubicBezTo>
                  <a:pt x="21717" y="581889"/>
                  <a:pt x="6001" y="566459"/>
                  <a:pt x="5715" y="548456"/>
                </a:cubicBezTo>
                <a:cubicBezTo>
                  <a:pt x="5429" y="530550"/>
                  <a:pt x="20860" y="514833"/>
                  <a:pt x="38862" y="514547"/>
                </a:cubicBezTo>
                <a:cubicBezTo>
                  <a:pt x="56769" y="514262"/>
                  <a:pt x="72485" y="529692"/>
                  <a:pt x="72771" y="547695"/>
                </a:cubicBezTo>
                <a:cubicBezTo>
                  <a:pt x="72962" y="565602"/>
                  <a:pt x="57626" y="581318"/>
                  <a:pt x="39624" y="581604"/>
                </a:cubicBezTo>
                <a:close/>
                <a:moveTo>
                  <a:pt x="673132" y="628657"/>
                </a:moveTo>
                <a:cubicBezTo>
                  <a:pt x="691420" y="628752"/>
                  <a:pt x="706660" y="644373"/>
                  <a:pt x="706088" y="662566"/>
                </a:cubicBezTo>
                <a:cubicBezTo>
                  <a:pt x="705612" y="680283"/>
                  <a:pt x="690563" y="694856"/>
                  <a:pt x="672941" y="694856"/>
                </a:cubicBezTo>
                <a:cubicBezTo>
                  <a:pt x="654653" y="694761"/>
                  <a:pt x="639413" y="679139"/>
                  <a:pt x="639985" y="660947"/>
                </a:cubicBezTo>
                <a:cubicBezTo>
                  <a:pt x="640461" y="643230"/>
                  <a:pt x="655415" y="628657"/>
                  <a:pt x="673132" y="628657"/>
                </a:cubicBezTo>
                <a:close/>
                <a:moveTo>
                  <a:pt x="1334357" y="1261403"/>
                </a:moveTo>
                <a:cubicBezTo>
                  <a:pt x="1334453" y="1279405"/>
                  <a:pt x="1318832" y="1294931"/>
                  <a:pt x="1300829" y="1294740"/>
                </a:cubicBezTo>
                <a:cubicBezTo>
                  <a:pt x="1282827" y="1294550"/>
                  <a:pt x="1267492" y="1278834"/>
                  <a:pt x="1267873" y="1260927"/>
                </a:cubicBezTo>
                <a:cubicBezTo>
                  <a:pt x="1268254" y="1243401"/>
                  <a:pt x="1283113" y="1228637"/>
                  <a:pt x="1300639" y="1228351"/>
                </a:cubicBezTo>
                <a:cubicBezTo>
                  <a:pt x="1318641" y="1227970"/>
                  <a:pt x="1334357" y="1243401"/>
                  <a:pt x="1334357" y="1261403"/>
                </a:cubicBezTo>
                <a:close/>
                <a:moveTo>
                  <a:pt x="1203770" y="1074332"/>
                </a:moveTo>
                <a:cubicBezTo>
                  <a:pt x="1203484" y="1092429"/>
                  <a:pt x="1187482" y="1107764"/>
                  <a:pt x="1169575" y="1107193"/>
                </a:cubicBezTo>
                <a:cubicBezTo>
                  <a:pt x="1151382" y="1106622"/>
                  <a:pt x="1136237" y="1090524"/>
                  <a:pt x="1136999" y="1072617"/>
                </a:cubicBezTo>
                <a:cubicBezTo>
                  <a:pt x="1137761" y="1054901"/>
                  <a:pt x="1153001" y="1040328"/>
                  <a:pt x="1170432" y="1040423"/>
                </a:cubicBezTo>
                <a:cubicBezTo>
                  <a:pt x="1188625" y="1040613"/>
                  <a:pt x="1204151" y="1056330"/>
                  <a:pt x="1203770" y="1074332"/>
                </a:cubicBezTo>
                <a:close/>
                <a:moveTo>
                  <a:pt x="1236250" y="1201014"/>
                </a:moveTo>
                <a:cubicBezTo>
                  <a:pt x="1218248" y="1201300"/>
                  <a:pt x="1202531" y="1185774"/>
                  <a:pt x="1202436" y="1167772"/>
                </a:cubicBezTo>
                <a:cubicBezTo>
                  <a:pt x="1202341" y="1149675"/>
                  <a:pt x="1218057" y="1134149"/>
                  <a:pt x="1236059" y="1134339"/>
                </a:cubicBezTo>
                <a:cubicBezTo>
                  <a:pt x="1253585" y="1134530"/>
                  <a:pt x="1268635" y="1149294"/>
                  <a:pt x="1269111" y="1166915"/>
                </a:cubicBezTo>
                <a:cubicBezTo>
                  <a:pt x="1269682" y="1184822"/>
                  <a:pt x="1254347" y="1200729"/>
                  <a:pt x="1236250" y="1201014"/>
                </a:cubicBezTo>
                <a:close/>
                <a:moveTo>
                  <a:pt x="1104710" y="1016134"/>
                </a:moveTo>
                <a:cubicBezTo>
                  <a:pt x="1086612" y="1015944"/>
                  <a:pt x="1071372" y="1000132"/>
                  <a:pt x="1071753" y="982225"/>
                </a:cubicBezTo>
                <a:cubicBezTo>
                  <a:pt x="1072229" y="964128"/>
                  <a:pt x="1088136" y="948983"/>
                  <a:pt x="1106043" y="949650"/>
                </a:cubicBezTo>
                <a:cubicBezTo>
                  <a:pt x="1123664" y="950316"/>
                  <a:pt x="1138238" y="965366"/>
                  <a:pt x="1138238" y="982796"/>
                </a:cubicBezTo>
                <a:cubicBezTo>
                  <a:pt x="1138333" y="1000894"/>
                  <a:pt x="1122712" y="1016325"/>
                  <a:pt x="1104710" y="1016134"/>
                </a:cubicBezTo>
                <a:close/>
                <a:moveTo>
                  <a:pt x="1418273" y="1492955"/>
                </a:moveTo>
                <a:cubicBezTo>
                  <a:pt x="1436561" y="1493337"/>
                  <a:pt x="1451324" y="1508862"/>
                  <a:pt x="1450562" y="1527055"/>
                </a:cubicBezTo>
                <a:cubicBezTo>
                  <a:pt x="1449800" y="1544867"/>
                  <a:pt x="1434941" y="1558964"/>
                  <a:pt x="1417225" y="1558678"/>
                </a:cubicBezTo>
                <a:cubicBezTo>
                  <a:pt x="1398937" y="1558297"/>
                  <a:pt x="1384173" y="1542771"/>
                  <a:pt x="1384935" y="1524579"/>
                </a:cubicBezTo>
                <a:cubicBezTo>
                  <a:pt x="1385602" y="1506767"/>
                  <a:pt x="1400556" y="1492575"/>
                  <a:pt x="1418273" y="1492955"/>
                </a:cubicBezTo>
                <a:close/>
                <a:moveTo>
                  <a:pt x="894493" y="814013"/>
                </a:moveTo>
                <a:cubicBezTo>
                  <a:pt x="876205" y="813918"/>
                  <a:pt x="861251" y="798393"/>
                  <a:pt x="861822" y="780200"/>
                </a:cubicBezTo>
                <a:cubicBezTo>
                  <a:pt x="862394" y="762388"/>
                  <a:pt x="877157" y="748101"/>
                  <a:pt x="894874" y="748291"/>
                </a:cubicBezTo>
                <a:cubicBezTo>
                  <a:pt x="913162" y="748386"/>
                  <a:pt x="928116" y="763912"/>
                  <a:pt x="927545" y="782105"/>
                </a:cubicBezTo>
                <a:cubicBezTo>
                  <a:pt x="927068" y="799821"/>
                  <a:pt x="912209" y="814109"/>
                  <a:pt x="894493" y="814013"/>
                </a:cubicBezTo>
                <a:close/>
                <a:moveTo>
                  <a:pt x="1398937" y="1355510"/>
                </a:moveTo>
                <a:cubicBezTo>
                  <a:pt x="1398842" y="1373703"/>
                  <a:pt x="1384554" y="1387800"/>
                  <a:pt x="1366266" y="1387609"/>
                </a:cubicBezTo>
                <a:cubicBezTo>
                  <a:pt x="1348073" y="1387514"/>
                  <a:pt x="1333976" y="1373226"/>
                  <a:pt x="1334167" y="1354938"/>
                </a:cubicBezTo>
                <a:cubicBezTo>
                  <a:pt x="1334262" y="1336746"/>
                  <a:pt x="1348550" y="1322648"/>
                  <a:pt x="1366838" y="1322839"/>
                </a:cubicBezTo>
                <a:cubicBezTo>
                  <a:pt x="1385030" y="1323030"/>
                  <a:pt x="1399032" y="1337317"/>
                  <a:pt x="1398937" y="1355510"/>
                </a:cubicBezTo>
                <a:close/>
                <a:moveTo>
                  <a:pt x="784860" y="676282"/>
                </a:moveTo>
                <a:cubicBezTo>
                  <a:pt x="784670" y="694475"/>
                  <a:pt x="770573" y="708381"/>
                  <a:pt x="752380" y="708191"/>
                </a:cubicBezTo>
                <a:cubicBezTo>
                  <a:pt x="734187" y="708000"/>
                  <a:pt x="720281" y="693903"/>
                  <a:pt x="720471" y="675711"/>
                </a:cubicBezTo>
                <a:cubicBezTo>
                  <a:pt x="720662" y="657518"/>
                  <a:pt x="734759" y="643611"/>
                  <a:pt x="752951" y="643802"/>
                </a:cubicBezTo>
                <a:cubicBezTo>
                  <a:pt x="771049" y="643897"/>
                  <a:pt x="784955" y="657994"/>
                  <a:pt x="784860" y="676282"/>
                </a:cubicBezTo>
                <a:close/>
                <a:moveTo>
                  <a:pt x="1072039" y="889452"/>
                </a:moveTo>
                <a:cubicBezTo>
                  <a:pt x="1071848" y="907644"/>
                  <a:pt x="1057561" y="921741"/>
                  <a:pt x="1039368" y="921551"/>
                </a:cubicBezTo>
                <a:cubicBezTo>
                  <a:pt x="1021175" y="921360"/>
                  <a:pt x="1007078" y="907073"/>
                  <a:pt x="1007269" y="888880"/>
                </a:cubicBezTo>
                <a:cubicBezTo>
                  <a:pt x="1007459" y="870687"/>
                  <a:pt x="1021747" y="856590"/>
                  <a:pt x="1039940" y="856781"/>
                </a:cubicBezTo>
                <a:cubicBezTo>
                  <a:pt x="1058132" y="856876"/>
                  <a:pt x="1072229" y="871259"/>
                  <a:pt x="1072039" y="889452"/>
                </a:cubicBezTo>
                <a:close/>
                <a:moveTo>
                  <a:pt x="607409" y="599320"/>
                </a:moveTo>
                <a:cubicBezTo>
                  <a:pt x="589979" y="599225"/>
                  <a:pt x="576167" y="585128"/>
                  <a:pt x="576358" y="567697"/>
                </a:cubicBezTo>
                <a:cubicBezTo>
                  <a:pt x="576453" y="550266"/>
                  <a:pt x="590550" y="536455"/>
                  <a:pt x="607981" y="536646"/>
                </a:cubicBezTo>
                <a:cubicBezTo>
                  <a:pt x="625412" y="536741"/>
                  <a:pt x="639223" y="550838"/>
                  <a:pt x="639032" y="568269"/>
                </a:cubicBezTo>
                <a:cubicBezTo>
                  <a:pt x="638842" y="585604"/>
                  <a:pt x="624840" y="599415"/>
                  <a:pt x="607409" y="599320"/>
                </a:cubicBezTo>
                <a:close/>
                <a:moveTo>
                  <a:pt x="1005935" y="794773"/>
                </a:moveTo>
                <a:cubicBezTo>
                  <a:pt x="1006221" y="812489"/>
                  <a:pt x="992791" y="826491"/>
                  <a:pt x="975265" y="826968"/>
                </a:cubicBezTo>
                <a:cubicBezTo>
                  <a:pt x="956977" y="827348"/>
                  <a:pt x="942689" y="813442"/>
                  <a:pt x="942785" y="795249"/>
                </a:cubicBezTo>
                <a:cubicBezTo>
                  <a:pt x="942880" y="777533"/>
                  <a:pt x="956501" y="763912"/>
                  <a:pt x="974122" y="763817"/>
                </a:cubicBezTo>
                <a:cubicBezTo>
                  <a:pt x="991838" y="763626"/>
                  <a:pt x="1005650" y="777152"/>
                  <a:pt x="1005935" y="794773"/>
                </a:cubicBezTo>
                <a:close/>
                <a:moveTo>
                  <a:pt x="164497" y="482258"/>
                </a:moveTo>
                <a:cubicBezTo>
                  <a:pt x="164687" y="499879"/>
                  <a:pt x="151257" y="513881"/>
                  <a:pt x="133826" y="514262"/>
                </a:cubicBezTo>
                <a:cubicBezTo>
                  <a:pt x="115634" y="514643"/>
                  <a:pt x="101346" y="500641"/>
                  <a:pt x="101537" y="482544"/>
                </a:cubicBezTo>
                <a:cubicBezTo>
                  <a:pt x="101632" y="465018"/>
                  <a:pt x="115348" y="451302"/>
                  <a:pt x="132874" y="451302"/>
                </a:cubicBezTo>
                <a:cubicBezTo>
                  <a:pt x="150495" y="451111"/>
                  <a:pt x="164306" y="464732"/>
                  <a:pt x="164497" y="482258"/>
                </a:cubicBezTo>
                <a:close/>
                <a:moveTo>
                  <a:pt x="559689" y="553219"/>
                </a:moveTo>
                <a:cubicBezTo>
                  <a:pt x="559975" y="570936"/>
                  <a:pt x="546545" y="584937"/>
                  <a:pt x="529019" y="585413"/>
                </a:cubicBezTo>
                <a:cubicBezTo>
                  <a:pt x="510731" y="585890"/>
                  <a:pt x="496443" y="571983"/>
                  <a:pt x="496538" y="553695"/>
                </a:cubicBezTo>
                <a:cubicBezTo>
                  <a:pt x="496634" y="535979"/>
                  <a:pt x="510254" y="522358"/>
                  <a:pt x="527876" y="522263"/>
                </a:cubicBezTo>
                <a:cubicBezTo>
                  <a:pt x="545592" y="522072"/>
                  <a:pt x="559403" y="535598"/>
                  <a:pt x="559689" y="553219"/>
                </a:cubicBezTo>
                <a:close/>
                <a:moveTo>
                  <a:pt x="863727" y="687712"/>
                </a:moveTo>
                <a:cubicBezTo>
                  <a:pt x="863537" y="705238"/>
                  <a:pt x="849821" y="718859"/>
                  <a:pt x="832199" y="718859"/>
                </a:cubicBezTo>
                <a:cubicBezTo>
                  <a:pt x="814102" y="718859"/>
                  <a:pt x="800195" y="704476"/>
                  <a:pt x="800767" y="686283"/>
                </a:cubicBezTo>
                <a:cubicBezTo>
                  <a:pt x="801243" y="668853"/>
                  <a:pt x="815340" y="655518"/>
                  <a:pt x="833057" y="655898"/>
                </a:cubicBezTo>
                <a:cubicBezTo>
                  <a:pt x="850392" y="656184"/>
                  <a:pt x="863918" y="670186"/>
                  <a:pt x="863727" y="687712"/>
                </a:cubicBezTo>
                <a:close/>
                <a:moveTo>
                  <a:pt x="321183" y="511309"/>
                </a:moveTo>
                <a:cubicBezTo>
                  <a:pt x="321088" y="529597"/>
                  <a:pt x="306896" y="543313"/>
                  <a:pt x="288512" y="542932"/>
                </a:cubicBezTo>
                <a:cubicBezTo>
                  <a:pt x="270891" y="542551"/>
                  <a:pt x="257556" y="528740"/>
                  <a:pt x="257556" y="510928"/>
                </a:cubicBezTo>
                <a:cubicBezTo>
                  <a:pt x="257651" y="492640"/>
                  <a:pt x="271844" y="478924"/>
                  <a:pt x="290227" y="479305"/>
                </a:cubicBezTo>
                <a:cubicBezTo>
                  <a:pt x="307848" y="479686"/>
                  <a:pt x="321183" y="493497"/>
                  <a:pt x="321183" y="511309"/>
                </a:cubicBezTo>
                <a:close/>
                <a:moveTo>
                  <a:pt x="369475" y="493497"/>
                </a:moveTo>
                <a:cubicBezTo>
                  <a:pt x="387668" y="493783"/>
                  <a:pt x="401288" y="508166"/>
                  <a:pt x="400717" y="526549"/>
                </a:cubicBezTo>
                <a:cubicBezTo>
                  <a:pt x="400145" y="544170"/>
                  <a:pt x="386144" y="557315"/>
                  <a:pt x="368332" y="557029"/>
                </a:cubicBezTo>
                <a:cubicBezTo>
                  <a:pt x="350139" y="556743"/>
                  <a:pt x="336518" y="542361"/>
                  <a:pt x="337090" y="523977"/>
                </a:cubicBezTo>
                <a:cubicBezTo>
                  <a:pt x="337661" y="506451"/>
                  <a:pt x="351663" y="493307"/>
                  <a:pt x="369475" y="493497"/>
                </a:cubicBezTo>
                <a:close/>
                <a:moveTo>
                  <a:pt x="1150620" y="903834"/>
                </a:moveTo>
                <a:cubicBezTo>
                  <a:pt x="1150334" y="921265"/>
                  <a:pt x="1136237" y="934886"/>
                  <a:pt x="1118711" y="934695"/>
                </a:cubicBezTo>
                <a:cubicBezTo>
                  <a:pt x="1101281" y="934410"/>
                  <a:pt x="1087660" y="920313"/>
                  <a:pt x="1087850" y="902787"/>
                </a:cubicBezTo>
                <a:cubicBezTo>
                  <a:pt x="1088136" y="885356"/>
                  <a:pt x="1102233" y="871735"/>
                  <a:pt x="1119759" y="871926"/>
                </a:cubicBezTo>
                <a:cubicBezTo>
                  <a:pt x="1137190" y="872306"/>
                  <a:pt x="1150906" y="886404"/>
                  <a:pt x="1150620" y="903834"/>
                </a:cubicBezTo>
                <a:close/>
                <a:moveTo>
                  <a:pt x="1250442" y="1056520"/>
                </a:moveTo>
                <a:cubicBezTo>
                  <a:pt x="1268063" y="1056711"/>
                  <a:pt x="1281684" y="1070427"/>
                  <a:pt x="1281589" y="1088143"/>
                </a:cubicBezTo>
                <a:cubicBezTo>
                  <a:pt x="1281589" y="1106336"/>
                  <a:pt x="1267206" y="1120242"/>
                  <a:pt x="1248918" y="1119671"/>
                </a:cubicBezTo>
                <a:cubicBezTo>
                  <a:pt x="1231392" y="1119195"/>
                  <a:pt x="1218152" y="1105097"/>
                  <a:pt x="1218438" y="1087286"/>
                </a:cubicBezTo>
                <a:cubicBezTo>
                  <a:pt x="1218724" y="1069664"/>
                  <a:pt x="1232630" y="1056330"/>
                  <a:pt x="1250442" y="1056520"/>
                </a:cubicBezTo>
                <a:close/>
                <a:moveTo>
                  <a:pt x="1184148" y="1028707"/>
                </a:moveTo>
                <a:cubicBezTo>
                  <a:pt x="1166527" y="1028517"/>
                  <a:pt x="1153001" y="1014705"/>
                  <a:pt x="1153001" y="996989"/>
                </a:cubicBezTo>
                <a:cubicBezTo>
                  <a:pt x="1153001" y="978796"/>
                  <a:pt x="1167384" y="964985"/>
                  <a:pt x="1185767" y="965461"/>
                </a:cubicBezTo>
                <a:cubicBezTo>
                  <a:pt x="1203293" y="965937"/>
                  <a:pt x="1216533" y="980129"/>
                  <a:pt x="1216247" y="997846"/>
                </a:cubicBezTo>
                <a:cubicBezTo>
                  <a:pt x="1215866" y="1015563"/>
                  <a:pt x="1201960" y="1028897"/>
                  <a:pt x="1184148" y="1028707"/>
                </a:cubicBezTo>
                <a:close/>
                <a:moveTo>
                  <a:pt x="213170" y="465208"/>
                </a:moveTo>
                <a:cubicBezTo>
                  <a:pt x="231362" y="465494"/>
                  <a:pt x="244888" y="479781"/>
                  <a:pt x="244316" y="498164"/>
                </a:cubicBezTo>
                <a:cubicBezTo>
                  <a:pt x="243745" y="515691"/>
                  <a:pt x="229838" y="528835"/>
                  <a:pt x="212122" y="528645"/>
                </a:cubicBezTo>
                <a:cubicBezTo>
                  <a:pt x="193929" y="528359"/>
                  <a:pt x="180404" y="514071"/>
                  <a:pt x="180975" y="495688"/>
                </a:cubicBezTo>
                <a:cubicBezTo>
                  <a:pt x="181451" y="478162"/>
                  <a:pt x="195358" y="465018"/>
                  <a:pt x="213170" y="465208"/>
                </a:cubicBezTo>
                <a:close/>
                <a:moveTo>
                  <a:pt x="1463612" y="1448569"/>
                </a:moveTo>
                <a:cubicBezTo>
                  <a:pt x="1463802" y="1466857"/>
                  <a:pt x="1449991" y="1480859"/>
                  <a:pt x="1431703" y="1480668"/>
                </a:cubicBezTo>
                <a:cubicBezTo>
                  <a:pt x="1414082" y="1480573"/>
                  <a:pt x="1400461" y="1467047"/>
                  <a:pt x="1400270" y="1449426"/>
                </a:cubicBezTo>
                <a:cubicBezTo>
                  <a:pt x="1400080" y="1431138"/>
                  <a:pt x="1413891" y="1417137"/>
                  <a:pt x="1432179" y="1417327"/>
                </a:cubicBezTo>
                <a:cubicBezTo>
                  <a:pt x="1449800" y="1417518"/>
                  <a:pt x="1463421" y="1430948"/>
                  <a:pt x="1463612" y="1448569"/>
                </a:cubicBezTo>
                <a:close/>
                <a:moveTo>
                  <a:pt x="1380363" y="1244353"/>
                </a:moveTo>
                <a:cubicBezTo>
                  <a:pt x="1397794" y="1244163"/>
                  <a:pt x="1411891" y="1257879"/>
                  <a:pt x="1412081" y="1275309"/>
                </a:cubicBezTo>
                <a:cubicBezTo>
                  <a:pt x="1412272" y="1292740"/>
                  <a:pt x="1398556" y="1306837"/>
                  <a:pt x="1381125" y="1307028"/>
                </a:cubicBezTo>
                <a:cubicBezTo>
                  <a:pt x="1363694" y="1307218"/>
                  <a:pt x="1349597" y="1293502"/>
                  <a:pt x="1349407" y="1276071"/>
                </a:cubicBezTo>
                <a:cubicBezTo>
                  <a:pt x="1349216" y="1258641"/>
                  <a:pt x="1362932" y="1244544"/>
                  <a:pt x="1380363" y="1244353"/>
                </a:cubicBezTo>
                <a:close/>
                <a:moveTo>
                  <a:pt x="1346930" y="1181964"/>
                </a:moveTo>
                <a:cubicBezTo>
                  <a:pt x="1346930" y="1199681"/>
                  <a:pt x="1333310" y="1213302"/>
                  <a:pt x="1315593" y="1213492"/>
                </a:cubicBezTo>
                <a:cubicBezTo>
                  <a:pt x="1297305" y="1213587"/>
                  <a:pt x="1283399" y="1199395"/>
                  <a:pt x="1283780" y="1181107"/>
                </a:cubicBezTo>
                <a:cubicBezTo>
                  <a:pt x="1284161" y="1163486"/>
                  <a:pt x="1298067" y="1150151"/>
                  <a:pt x="1315784" y="1150341"/>
                </a:cubicBezTo>
                <a:cubicBezTo>
                  <a:pt x="1333500" y="1150532"/>
                  <a:pt x="1347026" y="1164248"/>
                  <a:pt x="1346930" y="1181964"/>
                </a:cubicBezTo>
                <a:close/>
                <a:moveTo>
                  <a:pt x="447294" y="571317"/>
                </a:moveTo>
                <a:cubicBezTo>
                  <a:pt x="429197" y="570745"/>
                  <a:pt x="415862" y="556077"/>
                  <a:pt x="416719" y="537598"/>
                </a:cubicBezTo>
                <a:cubicBezTo>
                  <a:pt x="417576" y="520072"/>
                  <a:pt x="431768" y="507118"/>
                  <a:pt x="449675" y="507689"/>
                </a:cubicBezTo>
                <a:cubicBezTo>
                  <a:pt x="467773" y="508261"/>
                  <a:pt x="481108" y="522929"/>
                  <a:pt x="480251" y="541408"/>
                </a:cubicBezTo>
                <a:cubicBezTo>
                  <a:pt x="479393" y="558934"/>
                  <a:pt x="465201" y="571888"/>
                  <a:pt x="447294" y="571317"/>
                </a:cubicBezTo>
                <a:close/>
                <a:moveTo>
                  <a:pt x="84677" y="468542"/>
                </a:moveTo>
                <a:cubicBezTo>
                  <a:pt x="84677" y="485972"/>
                  <a:pt x="70485" y="499974"/>
                  <a:pt x="53054" y="499784"/>
                </a:cubicBezTo>
                <a:cubicBezTo>
                  <a:pt x="35624" y="499593"/>
                  <a:pt x="21812" y="485211"/>
                  <a:pt x="22193" y="467780"/>
                </a:cubicBezTo>
                <a:cubicBezTo>
                  <a:pt x="22574" y="450921"/>
                  <a:pt x="36290" y="437395"/>
                  <a:pt x="53150" y="437204"/>
                </a:cubicBezTo>
                <a:cubicBezTo>
                  <a:pt x="70580" y="437014"/>
                  <a:pt x="84677" y="451111"/>
                  <a:pt x="84677" y="468542"/>
                </a:cubicBezTo>
                <a:close/>
                <a:moveTo>
                  <a:pt x="718376" y="582556"/>
                </a:moveTo>
                <a:cubicBezTo>
                  <a:pt x="718090" y="599796"/>
                  <a:pt x="703326" y="613893"/>
                  <a:pt x="686086" y="613227"/>
                </a:cubicBezTo>
                <a:cubicBezTo>
                  <a:pt x="669417" y="612560"/>
                  <a:pt x="655892" y="598368"/>
                  <a:pt x="656082" y="581699"/>
                </a:cubicBezTo>
                <a:cubicBezTo>
                  <a:pt x="656368" y="564459"/>
                  <a:pt x="671132" y="550362"/>
                  <a:pt x="688372" y="551028"/>
                </a:cubicBezTo>
                <a:cubicBezTo>
                  <a:pt x="705041" y="551695"/>
                  <a:pt x="718566" y="565887"/>
                  <a:pt x="718376" y="582556"/>
                </a:cubicBezTo>
                <a:close/>
                <a:moveTo>
                  <a:pt x="1446181" y="1338555"/>
                </a:moveTo>
                <a:cubicBezTo>
                  <a:pt x="1462754" y="1338555"/>
                  <a:pt x="1476851" y="1352557"/>
                  <a:pt x="1477137" y="1369226"/>
                </a:cubicBezTo>
                <a:cubicBezTo>
                  <a:pt x="1477328" y="1386276"/>
                  <a:pt x="1462469" y="1400944"/>
                  <a:pt x="1445419" y="1400468"/>
                </a:cubicBezTo>
                <a:cubicBezTo>
                  <a:pt x="1428845" y="1399992"/>
                  <a:pt x="1414939" y="1385609"/>
                  <a:pt x="1415225" y="1369130"/>
                </a:cubicBezTo>
                <a:cubicBezTo>
                  <a:pt x="1415415" y="1352462"/>
                  <a:pt x="1429607" y="1338460"/>
                  <a:pt x="1446181" y="1338555"/>
                </a:cubicBezTo>
                <a:close/>
                <a:moveTo>
                  <a:pt x="4858" y="458636"/>
                </a:moveTo>
                <a:cubicBezTo>
                  <a:pt x="4572" y="463970"/>
                  <a:pt x="2762" y="468923"/>
                  <a:pt x="95" y="473209"/>
                </a:cubicBezTo>
                <a:lnTo>
                  <a:pt x="95" y="440919"/>
                </a:lnTo>
                <a:cubicBezTo>
                  <a:pt x="3429" y="446063"/>
                  <a:pt x="5239" y="452159"/>
                  <a:pt x="4858" y="458636"/>
                </a:cubicBezTo>
                <a:close/>
                <a:moveTo>
                  <a:pt x="1084802" y="809251"/>
                </a:moveTo>
                <a:cubicBezTo>
                  <a:pt x="1084993" y="825729"/>
                  <a:pt x="1070991" y="840112"/>
                  <a:pt x="1054513" y="840493"/>
                </a:cubicBezTo>
                <a:cubicBezTo>
                  <a:pt x="1037558" y="840874"/>
                  <a:pt x="1022699" y="826110"/>
                  <a:pt x="1022985" y="809061"/>
                </a:cubicBezTo>
                <a:cubicBezTo>
                  <a:pt x="1023271" y="792487"/>
                  <a:pt x="1037463" y="778485"/>
                  <a:pt x="1054037" y="778580"/>
                </a:cubicBezTo>
                <a:cubicBezTo>
                  <a:pt x="1070610" y="778676"/>
                  <a:pt x="1084707" y="792678"/>
                  <a:pt x="1084802" y="809251"/>
                </a:cubicBezTo>
                <a:close/>
                <a:moveTo>
                  <a:pt x="1497140" y="1571061"/>
                </a:moveTo>
                <a:cubicBezTo>
                  <a:pt x="1480471" y="1570965"/>
                  <a:pt x="1466374" y="1556868"/>
                  <a:pt x="1466278" y="1540200"/>
                </a:cubicBezTo>
                <a:cubicBezTo>
                  <a:pt x="1466183" y="1523055"/>
                  <a:pt x="1481042" y="1508386"/>
                  <a:pt x="1498187" y="1508958"/>
                </a:cubicBezTo>
                <a:cubicBezTo>
                  <a:pt x="1514856" y="1509434"/>
                  <a:pt x="1528667" y="1523912"/>
                  <a:pt x="1528382" y="1540485"/>
                </a:cubicBezTo>
                <a:cubicBezTo>
                  <a:pt x="1528001" y="1557249"/>
                  <a:pt x="1513808" y="1571156"/>
                  <a:pt x="1497140" y="1571061"/>
                </a:cubicBezTo>
                <a:close/>
                <a:moveTo>
                  <a:pt x="909638" y="732575"/>
                </a:moveTo>
                <a:cubicBezTo>
                  <a:pt x="893064" y="732956"/>
                  <a:pt x="878491" y="719240"/>
                  <a:pt x="877919" y="702571"/>
                </a:cubicBezTo>
                <a:cubicBezTo>
                  <a:pt x="877252" y="685426"/>
                  <a:pt x="891731" y="670472"/>
                  <a:pt x="908971" y="670472"/>
                </a:cubicBezTo>
                <a:cubicBezTo>
                  <a:pt x="925640" y="670472"/>
                  <a:pt x="939832" y="684473"/>
                  <a:pt x="940022" y="701238"/>
                </a:cubicBezTo>
                <a:cubicBezTo>
                  <a:pt x="940213" y="717811"/>
                  <a:pt x="926306" y="732194"/>
                  <a:pt x="909638" y="732575"/>
                </a:cubicBezTo>
                <a:close/>
                <a:moveTo>
                  <a:pt x="766858" y="565792"/>
                </a:moveTo>
                <a:cubicBezTo>
                  <a:pt x="783336" y="565792"/>
                  <a:pt x="797719" y="580365"/>
                  <a:pt x="797433" y="596748"/>
                </a:cubicBezTo>
                <a:cubicBezTo>
                  <a:pt x="797243" y="613227"/>
                  <a:pt x="782479" y="627419"/>
                  <a:pt x="766096" y="627038"/>
                </a:cubicBezTo>
                <a:cubicBezTo>
                  <a:pt x="750094" y="626562"/>
                  <a:pt x="736473" y="612750"/>
                  <a:pt x="736187" y="596844"/>
                </a:cubicBezTo>
                <a:cubicBezTo>
                  <a:pt x="735997" y="580365"/>
                  <a:pt x="750379" y="565792"/>
                  <a:pt x="766858" y="565792"/>
                </a:cubicBezTo>
                <a:close/>
                <a:moveTo>
                  <a:pt x="1233583" y="1010705"/>
                </a:moveTo>
                <a:cubicBezTo>
                  <a:pt x="1234059" y="994227"/>
                  <a:pt x="1248918" y="980129"/>
                  <a:pt x="1265206" y="980796"/>
                </a:cubicBezTo>
                <a:cubicBezTo>
                  <a:pt x="1281779" y="981463"/>
                  <a:pt x="1295686" y="996513"/>
                  <a:pt x="1294733" y="1012800"/>
                </a:cubicBezTo>
                <a:cubicBezTo>
                  <a:pt x="1293876" y="1028897"/>
                  <a:pt x="1279684" y="1042233"/>
                  <a:pt x="1263872" y="1042042"/>
                </a:cubicBezTo>
                <a:cubicBezTo>
                  <a:pt x="1247394" y="1041756"/>
                  <a:pt x="1233202" y="1026993"/>
                  <a:pt x="1233583" y="1010705"/>
                </a:cubicBezTo>
                <a:close/>
                <a:moveTo>
                  <a:pt x="1360170" y="1101573"/>
                </a:moveTo>
                <a:cubicBezTo>
                  <a:pt x="1360646" y="1117956"/>
                  <a:pt x="1346359" y="1132625"/>
                  <a:pt x="1329881" y="1132911"/>
                </a:cubicBezTo>
                <a:cubicBezTo>
                  <a:pt x="1313498" y="1133101"/>
                  <a:pt x="1298924" y="1118718"/>
                  <a:pt x="1298924" y="1102335"/>
                </a:cubicBezTo>
                <a:cubicBezTo>
                  <a:pt x="1298924" y="1086429"/>
                  <a:pt x="1312450" y="1072427"/>
                  <a:pt x="1328452" y="1071760"/>
                </a:cubicBezTo>
                <a:cubicBezTo>
                  <a:pt x="1344835" y="1070998"/>
                  <a:pt x="1359694" y="1085095"/>
                  <a:pt x="1360170" y="1101573"/>
                </a:cubicBezTo>
                <a:close/>
                <a:moveTo>
                  <a:pt x="1425226" y="1195680"/>
                </a:moveTo>
                <a:cubicBezTo>
                  <a:pt x="1425512" y="1212254"/>
                  <a:pt x="1411224" y="1226541"/>
                  <a:pt x="1394651" y="1226255"/>
                </a:cubicBezTo>
                <a:cubicBezTo>
                  <a:pt x="1378553" y="1226065"/>
                  <a:pt x="1364932" y="1212444"/>
                  <a:pt x="1364742" y="1196347"/>
                </a:cubicBezTo>
                <a:cubicBezTo>
                  <a:pt x="1364456" y="1179773"/>
                  <a:pt x="1378744" y="1165486"/>
                  <a:pt x="1395317" y="1165772"/>
                </a:cubicBezTo>
                <a:cubicBezTo>
                  <a:pt x="1411319" y="1166058"/>
                  <a:pt x="1424940" y="1179678"/>
                  <a:pt x="1425226" y="1195680"/>
                </a:cubicBezTo>
                <a:close/>
                <a:moveTo>
                  <a:pt x="1199388" y="947840"/>
                </a:moveTo>
                <a:cubicBezTo>
                  <a:pt x="1182910" y="948221"/>
                  <a:pt x="1168527" y="933933"/>
                  <a:pt x="1168622" y="917455"/>
                </a:cubicBezTo>
                <a:cubicBezTo>
                  <a:pt x="1168718" y="901358"/>
                  <a:pt x="1182243" y="887737"/>
                  <a:pt x="1198340" y="887356"/>
                </a:cubicBezTo>
                <a:cubicBezTo>
                  <a:pt x="1214819" y="886975"/>
                  <a:pt x="1229201" y="901263"/>
                  <a:pt x="1229106" y="917741"/>
                </a:cubicBezTo>
                <a:cubicBezTo>
                  <a:pt x="1229011" y="933838"/>
                  <a:pt x="1215485" y="947459"/>
                  <a:pt x="1199388" y="947840"/>
                </a:cubicBezTo>
                <a:close/>
                <a:moveTo>
                  <a:pt x="303943" y="461588"/>
                </a:moveTo>
                <a:cubicBezTo>
                  <a:pt x="287750" y="461874"/>
                  <a:pt x="273939" y="448539"/>
                  <a:pt x="273463" y="432347"/>
                </a:cubicBezTo>
                <a:cubicBezTo>
                  <a:pt x="272987" y="415678"/>
                  <a:pt x="287084" y="401391"/>
                  <a:pt x="303752" y="401581"/>
                </a:cubicBezTo>
                <a:cubicBezTo>
                  <a:pt x="319945" y="401771"/>
                  <a:pt x="333470" y="415392"/>
                  <a:pt x="333470" y="431585"/>
                </a:cubicBezTo>
                <a:cubicBezTo>
                  <a:pt x="333565" y="447682"/>
                  <a:pt x="320135" y="461303"/>
                  <a:pt x="303943" y="461588"/>
                </a:cubicBezTo>
                <a:close/>
                <a:moveTo>
                  <a:pt x="353092" y="445777"/>
                </a:moveTo>
                <a:cubicBezTo>
                  <a:pt x="353092" y="429585"/>
                  <a:pt x="366522" y="415964"/>
                  <a:pt x="382810" y="415773"/>
                </a:cubicBezTo>
                <a:cubicBezTo>
                  <a:pt x="399574" y="415583"/>
                  <a:pt x="413671" y="429775"/>
                  <a:pt x="413195" y="446539"/>
                </a:cubicBezTo>
                <a:cubicBezTo>
                  <a:pt x="412814" y="462731"/>
                  <a:pt x="399002" y="476067"/>
                  <a:pt x="382810" y="475876"/>
                </a:cubicBezTo>
                <a:cubicBezTo>
                  <a:pt x="366522" y="475590"/>
                  <a:pt x="353092" y="461970"/>
                  <a:pt x="353092" y="445777"/>
                </a:cubicBezTo>
                <a:close/>
                <a:moveTo>
                  <a:pt x="492538" y="460350"/>
                </a:moveTo>
                <a:cubicBezTo>
                  <a:pt x="492347" y="476829"/>
                  <a:pt x="478727" y="489973"/>
                  <a:pt x="462344" y="489783"/>
                </a:cubicBezTo>
                <a:cubicBezTo>
                  <a:pt x="445865" y="489592"/>
                  <a:pt x="432721" y="475971"/>
                  <a:pt x="432911" y="459588"/>
                </a:cubicBezTo>
                <a:cubicBezTo>
                  <a:pt x="433102" y="443110"/>
                  <a:pt x="446723" y="429966"/>
                  <a:pt x="463106" y="430156"/>
                </a:cubicBezTo>
                <a:cubicBezTo>
                  <a:pt x="479584" y="430346"/>
                  <a:pt x="492728" y="443967"/>
                  <a:pt x="492538" y="460350"/>
                </a:cubicBezTo>
                <a:close/>
                <a:moveTo>
                  <a:pt x="1018508" y="716287"/>
                </a:moveTo>
                <a:cubicBezTo>
                  <a:pt x="1018223" y="732479"/>
                  <a:pt x="1004507" y="745910"/>
                  <a:pt x="988314" y="745814"/>
                </a:cubicBezTo>
                <a:cubicBezTo>
                  <a:pt x="971550" y="745719"/>
                  <a:pt x="957739" y="731241"/>
                  <a:pt x="958406" y="714572"/>
                </a:cubicBezTo>
                <a:cubicBezTo>
                  <a:pt x="959072" y="698285"/>
                  <a:pt x="973074" y="685236"/>
                  <a:pt x="989267" y="685712"/>
                </a:cubicBezTo>
                <a:cubicBezTo>
                  <a:pt x="1005554" y="686188"/>
                  <a:pt x="1018794" y="700095"/>
                  <a:pt x="1018508" y="716287"/>
                </a:cubicBezTo>
                <a:close/>
                <a:moveTo>
                  <a:pt x="1541526" y="1460666"/>
                </a:moveTo>
                <a:cubicBezTo>
                  <a:pt x="1541431" y="1476858"/>
                  <a:pt x="1527810" y="1490384"/>
                  <a:pt x="1511618" y="1490479"/>
                </a:cubicBezTo>
                <a:cubicBezTo>
                  <a:pt x="1494853" y="1490574"/>
                  <a:pt x="1480852" y="1476192"/>
                  <a:pt x="1481423" y="1459523"/>
                </a:cubicBezTo>
                <a:cubicBezTo>
                  <a:pt x="1481995" y="1443330"/>
                  <a:pt x="1495901" y="1430091"/>
                  <a:pt x="1511999" y="1430376"/>
                </a:cubicBezTo>
                <a:cubicBezTo>
                  <a:pt x="1528286" y="1430757"/>
                  <a:pt x="1541621" y="1444473"/>
                  <a:pt x="1541526" y="1460666"/>
                </a:cubicBezTo>
                <a:close/>
                <a:moveTo>
                  <a:pt x="1554385" y="1384180"/>
                </a:moveTo>
                <a:cubicBezTo>
                  <a:pt x="1554194" y="1400372"/>
                  <a:pt x="1541526" y="1412660"/>
                  <a:pt x="1525238" y="1412374"/>
                </a:cubicBezTo>
                <a:cubicBezTo>
                  <a:pt x="1509046" y="1412184"/>
                  <a:pt x="1496759" y="1399515"/>
                  <a:pt x="1497044" y="1383228"/>
                </a:cubicBezTo>
                <a:cubicBezTo>
                  <a:pt x="1497235" y="1367035"/>
                  <a:pt x="1509903" y="1354748"/>
                  <a:pt x="1526191" y="1355034"/>
                </a:cubicBezTo>
                <a:cubicBezTo>
                  <a:pt x="1542383" y="1355224"/>
                  <a:pt x="1554575" y="1367892"/>
                  <a:pt x="1554385" y="1384180"/>
                </a:cubicBezTo>
                <a:close/>
                <a:moveTo>
                  <a:pt x="650939" y="487878"/>
                </a:moveTo>
                <a:cubicBezTo>
                  <a:pt x="651224" y="504832"/>
                  <a:pt x="638651" y="517500"/>
                  <a:pt x="621697" y="517405"/>
                </a:cubicBezTo>
                <a:cubicBezTo>
                  <a:pt x="605409" y="517310"/>
                  <a:pt x="593122" y="505118"/>
                  <a:pt x="592836" y="488925"/>
                </a:cubicBezTo>
                <a:cubicBezTo>
                  <a:pt x="592550" y="471971"/>
                  <a:pt x="605123" y="459303"/>
                  <a:pt x="622078" y="459398"/>
                </a:cubicBezTo>
                <a:cubicBezTo>
                  <a:pt x="638270" y="459398"/>
                  <a:pt x="650653" y="471590"/>
                  <a:pt x="650939" y="487878"/>
                </a:cubicBezTo>
                <a:close/>
                <a:moveTo>
                  <a:pt x="541973" y="444825"/>
                </a:moveTo>
                <a:cubicBezTo>
                  <a:pt x="558737" y="444634"/>
                  <a:pt x="571691" y="457397"/>
                  <a:pt x="571691" y="474162"/>
                </a:cubicBezTo>
                <a:cubicBezTo>
                  <a:pt x="571691" y="490926"/>
                  <a:pt x="558737" y="503689"/>
                  <a:pt x="541973" y="503498"/>
                </a:cubicBezTo>
                <a:cubicBezTo>
                  <a:pt x="525780" y="503308"/>
                  <a:pt x="513302" y="490926"/>
                  <a:pt x="513017" y="474828"/>
                </a:cubicBezTo>
                <a:cubicBezTo>
                  <a:pt x="512636" y="458160"/>
                  <a:pt x="525209" y="445015"/>
                  <a:pt x="541973" y="444825"/>
                </a:cubicBezTo>
                <a:close/>
                <a:moveTo>
                  <a:pt x="96584" y="391770"/>
                </a:moveTo>
                <a:cubicBezTo>
                  <a:pt x="96584" y="408153"/>
                  <a:pt x="84296" y="420441"/>
                  <a:pt x="68009" y="420631"/>
                </a:cubicBezTo>
                <a:cubicBezTo>
                  <a:pt x="51054" y="420821"/>
                  <a:pt x="38481" y="407963"/>
                  <a:pt x="38767" y="390913"/>
                </a:cubicBezTo>
                <a:cubicBezTo>
                  <a:pt x="39148" y="374625"/>
                  <a:pt x="51721" y="362624"/>
                  <a:pt x="68104" y="362814"/>
                </a:cubicBezTo>
                <a:cubicBezTo>
                  <a:pt x="84392" y="363005"/>
                  <a:pt x="96584" y="375483"/>
                  <a:pt x="96584" y="391770"/>
                </a:cubicBezTo>
                <a:close/>
                <a:moveTo>
                  <a:pt x="1162812" y="823729"/>
                </a:moveTo>
                <a:cubicBezTo>
                  <a:pt x="1162812" y="840493"/>
                  <a:pt x="1149953" y="853256"/>
                  <a:pt x="1133189" y="853161"/>
                </a:cubicBezTo>
                <a:cubicBezTo>
                  <a:pt x="1116521" y="852971"/>
                  <a:pt x="1103852" y="839921"/>
                  <a:pt x="1104138" y="823158"/>
                </a:cubicBezTo>
                <a:cubicBezTo>
                  <a:pt x="1104424" y="807060"/>
                  <a:pt x="1116902" y="794678"/>
                  <a:pt x="1133094" y="794487"/>
                </a:cubicBezTo>
                <a:cubicBezTo>
                  <a:pt x="1149858" y="794202"/>
                  <a:pt x="1162812" y="806965"/>
                  <a:pt x="1162812" y="823729"/>
                </a:cubicBezTo>
                <a:close/>
                <a:moveTo>
                  <a:pt x="146780" y="373959"/>
                </a:moveTo>
                <a:cubicBezTo>
                  <a:pt x="163735" y="373768"/>
                  <a:pt x="176594" y="386436"/>
                  <a:pt x="176403" y="403391"/>
                </a:cubicBezTo>
                <a:cubicBezTo>
                  <a:pt x="176308" y="419679"/>
                  <a:pt x="163925" y="432156"/>
                  <a:pt x="147638" y="432347"/>
                </a:cubicBezTo>
                <a:cubicBezTo>
                  <a:pt x="130683" y="432537"/>
                  <a:pt x="117824" y="419869"/>
                  <a:pt x="118015" y="402914"/>
                </a:cubicBezTo>
                <a:cubicBezTo>
                  <a:pt x="118110" y="386627"/>
                  <a:pt x="130492" y="374149"/>
                  <a:pt x="146780" y="373959"/>
                </a:cubicBezTo>
                <a:close/>
                <a:moveTo>
                  <a:pt x="1605439" y="1555344"/>
                </a:moveTo>
                <a:cubicBezTo>
                  <a:pt x="1604867" y="1571346"/>
                  <a:pt x="1591913" y="1583348"/>
                  <a:pt x="1575721" y="1582872"/>
                </a:cubicBezTo>
                <a:cubicBezTo>
                  <a:pt x="1559719" y="1582300"/>
                  <a:pt x="1547717" y="1569346"/>
                  <a:pt x="1548194" y="1553154"/>
                </a:cubicBezTo>
                <a:cubicBezTo>
                  <a:pt x="1548765" y="1537152"/>
                  <a:pt x="1561719" y="1525150"/>
                  <a:pt x="1577912" y="1525626"/>
                </a:cubicBezTo>
                <a:cubicBezTo>
                  <a:pt x="1593914" y="1526198"/>
                  <a:pt x="1606010" y="1539152"/>
                  <a:pt x="1605439" y="1555344"/>
                </a:cubicBezTo>
                <a:close/>
                <a:moveTo>
                  <a:pt x="873157" y="610369"/>
                </a:moveTo>
                <a:cubicBezTo>
                  <a:pt x="873252" y="626943"/>
                  <a:pt x="860393" y="639992"/>
                  <a:pt x="843820" y="640182"/>
                </a:cubicBezTo>
                <a:cubicBezTo>
                  <a:pt x="827246" y="640278"/>
                  <a:pt x="814197" y="627419"/>
                  <a:pt x="814007" y="610845"/>
                </a:cubicBezTo>
                <a:cubicBezTo>
                  <a:pt x="813911" y="594272"/>
                  <a:pt x="826770" y="581222"/>
                  <a:pt x="843344" y="581032"/>
                </a:cubicBezTo>
                <a:cubicBezTo>
                  <a:pt x="859917" y="580937"/>
                  <a:pt x="872966" y="593796"/>
                  <a:pt x="873157" y="610369"/>
                </a:cubicBezTo>
                <a:close/>
                <a:moveTo>
                  <a:pt x="1096709" y="729813"/>
                </a:moveTo>
                <a:cubicBezTo>
                  <a:pt x="1096804" y="745910"/>
                  <a:pt x="1084326" y="758483"/>
                  <a:pt x="1068229" y="758578"/>
                </a:cubicBezTo>
                <a:cubicBezTo>
                  <a:pt x="1052132" y="758673"/>
                  <a:pt x="1039559" y="746196"/>
                  <a:pt x="1039463" y="730098"/>
                </a:cubicBezTo>
                <a:cubicBezTo>
                  <a:pt x="1039368" y="714001"/>
                  <a:pt x="1051846" y="701428"/>
                  <a:pt x="1067943" y="701333"/>
                </a:cubicBezTo>
                <a:cubicBezTo>
                  <a:pt x="1084040" y="701333"/>
                  <a:pt x="1096613" y="713715"/>
                  <a:pt x="1096709" y="729813"/>
                </a:cubicBezTo>
                <a:close/>
                <a:moveTo>
                  <a:pt x="1489710" y="1289597"/>
                </a:moveTo>
                <a:cubicBezTo>
                  <a:pt x="1489805" y="1306361"/>
                  <a:pt x="1477042" y="1319220"/>
                  <a:pt x="1460278" y="1319220"/>
                </a:cubicBezTo>
                <a:cubicBezTo>
                  <a:pt x="1443514" y="1319124"/>
                  <a:pt x="1430750" y="1306170"/>
                  <a:pt x="1431036" y="1289406"/>
                </a:cubicBezTo>
                <a:cubicBezTo>
                  <a:pt x="1431227" y="1273309"/>
                  <a:pt x="1443609" y="1260831"/>
                  <a:pt x="1459802" y="1260546"/>
                </a:cubicBezTo>
                <a:cubicBezTo>
                  <a:pt x="1476470" y="1260260"/>
                  <a:pt x="1489520" y="1272928"/>
                  <a:pt x="1489710" y="1289597"/>
                </a:cubicBezTo>
                <a:close/>
                <a:moveTo>
                  <a:pt x="922687" y="596081"/>
                </a:moveTo>
                <a:cubicBezTo>
                  <a:pt x="938975" y="595891"/>
                  <a:pt x="951643" y="608083"/>
                  <a:pt x="951833" y="624276"/>
                </a:cubicBezTo>
                <a:cubicBezTo>
                  <a:pt x="952024" y="640563"/>
                  <a:pt x="939832" y="653231"/>
                  <a:pt x="923639" y="653422"/>
                </a:cubicBezTo>
                <a:cubicBezTo>
                  <a:pt x="907352" y="653613"/>
                  <a:pt x="894683" y="641421"/>
                  <a:pt x="894493" y="625228"/>
                </a:cubicBezTo>
                <a:cubicBezTo>
                  <a:pt x="894207" y="608940"/>
                  <a:pt x="906494" y="596367"/>
                  <a:pt x="922687" y="596081"/>
                </a:cubicBezTo>
                <a:close/>
                <a:moveTo>
                  <a:pt x="226600" y="446920"/>
                </a:moveTo>
                <a:cubicBezTo>
                  <a:pt x="210026" y="446825"/>
                  <a:pt x="197168" y="433680"/>
                  <a:pt x="197263" y="417107"/>
                </a:cubicBezTo>
                <a:cubicBezTo>
                  <a:pt x="197358" y="400533"/>
                  <a:pt x="210503" y="387675"/>
                  <a:pt x="227076" y="387770"/>
                </a:cubicBezTo>
                <a:cubicBezTo>
                  <a:pt x="243650" y="387865"/>
                  <a:pt x="256508" y="401010"/>
                  <a:pt x="256413" y="417583"/>
                </a:cubicBezTo>
                <a:cubicBezTo>
                  <a:pt x="256223" y="434061"/>
                  <a:pt x="243173" y="447015"/>
                  <a:pt x="226600" y="446920"/>
                </a:cubicBezTo>
                <a:close/>
                <a:moveTo>
                  <a:pt x="701326" y="473971"/>
                </a:moveTo>
                <a:cubicBezTo>
                  <a:pt x="717423" y="473876"/>
                  <a:pt x="729996" y="486354"/>
                  <a:pt x="730091" y="502451"/>
                </a:cubicBezTo>
                <a:cubicBezTo>
                  <a:pt x="730187" y="518548"/>
                  <a:pt x="717709" y="531121"/>
                  <a:pt x="701612" y="531216"/>
                </a:cubicBezTo>
                <a:cubicBezTo>
                  <a:pt x="685514" y="531312"/>
                  <a:pt x="672941" y="518834"/>
                  <a:pt x="672846" y="502737"/>
                </a:cubicBezTo>
                <a:cubicBezTo>
                  <a:pt x="672751" y="486639"/>
                  <a:pt x="685229" y="474066"/>
                  <a:pt x="701326" y="473971"/>
                </a:cubicBezTo>
                <a:close/>
                <a:moveTo>
                  <a:pt x="1502855" y="1210158"/>
                </a:moveTo>
                <a:cubicBezTo>
                  <a:pt x="1502950" y="1225303"/>
                  <a:pt x="1490282" y="1238352"/>
                  <a:pt x="1475137" y="1238638"/>
                </a:cubicBezTo>
                <a:cubicBezTo>
                  <a:pt x="1459421" y="1238924"/>
                  <a:pt x="1445990" y="1225589"/>
                  <a:pt x="1446276" y="1209872"/>
                </a:cubicBezTo>
                <a:cubicBezTo>
                  <a:pt x="1446562" y="1194633"/>
                  <a:pt x="1459516" y="1182060"/>
                  <a:pt x="1474756" y="1182155"/>
                </a:cubicBezTo>
                <a:cubicBezTo>
                  <a:pt x="1489901" y="1182155"/>
                  <a:pt x="1502664" y="1194918"/>
                  <a:pt x="1502855" y="1210158"/>
                </a:cubicBezTo>
                <a:close/>
                <a:moveTo>
                  <a:pt x="1408462" y="1088048"/>
                </a:moveTo>
                <a:cubicBezTo>
                  <a:pt x="1424559" y="1087667"/>
                  <a:pt x="1437513" y="1100145"/>
                  <a:pt x="1437703" y="1116242"/>
                </a:cubicBezTo>
                <a:cubicBezTo>
                  <a:pt x="1437894" y="1132339"/>
                  <a:pt x="1425226" y="1145103"/>
                  <a:pt x="1409224" y="1145103"/>
                </a:cubicBezTo>
                <a:cubicBezTo>
                  <a:pt x="1393698" y="1145103"/>
                  <a:pt x="1381220" y="1133101"/>
                  <a:pt x="1380744" y="1117671"/>
                </a:cubicBezTo>
                <a:cubicBezTo>
                  <a:pt x="1380077" y="1101478"/>
                  <a:pt x="1392460" y="1088334"/>
                  <a:pt x="1408462" y="1088048"/>
                </a:cubicBezTo>
                <a:close/>
                <a:moveTo>
                  <a:pt x="16574" y="377578"/>
                </a:moveTo>
                <a:cubicBezTo>
                  <a:pt x="16574" y="389198"/>
                  <a:pt x="9811" y="398914"/>
                  <a:pt x="95" y="403391"/>
                </a:cubicBezTo>
                <a:lnTo>
                  <a:pt x="95" y="351765"/>
                </a:lnTo>
                <a:cubicBezTo>
                  <a:pt x="9906" y="356242"/>
                  <a:pt x="16574" y="365958"/>
                  <a:pt x="16574" y="377578"/>
                </a:cubicBezTo>
                <a:close/>
                <a:moveTo>
                  <a:pt x="1241298" y="837540"/>
                </a:moveTo>
                <a:cubicBezTo>
                  <a:pt x="1241584" y="852685"/>
                  <a:pt x="1229011" y="865829"/>
                  <a:pt x="1213771" y="866211"/>
                </a:cubicBezTo>
                <a:cubicBezTo>
                  <a:pt x="1198055" y="866687"/>
                  <a:pt x="1184529" y="853352"/>
                  <a:pt x="1184720" y="837636"/>
                </a:cubicBezTo>
                <a:cubicBezTo>
                  <a:pt x="1184910" y="822396"/>
                  <a:pt x="1197769" y="809727"/>
                  <a:pt x="1212914" y="809632"/>
                </a:cubicBezTo>
                <a:cubicBezTo>
                  <a:pt x="1228153" y="809632"/>
                  <a:pt x="1241107" y="822396"/>
                  <a:pt x="1241298" y="837540"/>
                </a:cubicBezTo>
                <a:close/>
                <a:moveTo>
                  <a:pt x="1343692" y="994227"/>
                </a:moveTo>
                <a:cubicBezTo>
                  <a:pt x="1359789" y="994131"/>
                  <a:pt x="1372457" y="1006895"/>
                  <a:pt x="1372362" y="1022992"/>
                </a:cubicBezTo>
                <a:cubicBezTo>
                  <a:pt x="1372267" y="1039089"/>
                  <a:pt x="1359408" y="1051567"/>
                  <a:pt x="1343311" y="1051281"/>
                </a:cubicBezTo>
                <a:cubicBezTo>
                  <a:pt x="1327785" y="1050996"/>
                  <a:pt x="1315593" y="1038708"/>
                  <a:pt x="1315403" y="1023278"/>
                </a:cubicBezTo>
                <a:cubicBezTo>
                  <a:pt x="1315022" y="1007085"/>
                  <a:pt x="1327595" y="994322"/>
                  <a:pt x="1343692" y="994227"/>
                </a:cubicBezTo>
                <a:close/>
                <a:moveTo>
                  <a:pt x="1306925" y="932314"/>
                </a:moveTo>
                <a:cubicBezTo>
                  <a:pt x="1306640" y="948316"/>
                  <a:pt x="1293590" y="960698"/>
                  <a:pt x="1277493" y="960318"/>
                </a:cubicBezTo>
                <a:cubicBezTo>
                  <a:pt x="1261491" y="959841"/>
                  <a:pt x="1249204" y="946602"/>
                  <a:pt x="1249871" y="930504"/>
                </a:cubicBezTo>
                <a:cubicBezTo>
                  <a:pt x="1250537" y="915074"/>
                  <a:pt x="1263015" y="903168"/>
                  <a:pt x="1278541" y="903263"/>
                </a:cubicBezTo>
                <a:cubicBezTo>
                  <a:pt x="1294638" y="903358"/>
                  <a:pt x="1307211" y="916217"/>
                  <a:pt x="1306925" y="932314"/>
                </a:cubicBezTo>
                <a:close/>
                <a:moveTo>
                  <a:pt x="780764" y="488639"/>
                </a:moveTo>
                <a:cubicBezTo>
                  <a:pt x="795719" y="488449"/>
                  <a:pt x="808863" y="501117"/>
                  <a:pt x="809244" y="516167"/>
                </a:cubicBezTo>
                <a:cubicBezTo>
                  <a:pt x="809625" y="531693"/>
                  <a:pt x="796100" y="545218"/>
                  <a:pt x="780669" y="544932"/>
                </a:cubicBezTo>
                <a:cubicBezTo>
                  <a:pt x="765620" y="544646"/>
                  <a:pt x="752856" y="531693"/>
                  <a:pt x="752951" y="516643"/>
                </a:cubicBezTo>
                <a:cubicBezTo>
                  <a:pt x="752951" y="501689"/>
                  <a:pt x="765715" y="488830"/>
                  <a:pt x="780764" y="488639"/>
                </a:cubicBezTo>
                <a:close/>
                <a:moveTo>
                  <a:pt x="238792" y="368053"/>
                </a:moveTo>
                <a:cubicBezTo>
                  <a:pt x="224219" y="368434"/>
                  <a:pt x="211360" y="356242"/>
                  <a:pt x="210788" y="341573"/>
                </a:cubicBezTo>
                <a:cubicBezTo>
                  <a:pt x="210217" y="326429"/>
                  <a:pt x="223171" y="313094"/>
                  <a:pt x="238316" y="313189"/>
                </a:cubicBezTo>
                <a:cubicBezTo>
                  <a:pt x="252984" y="313284"/>
                  <a:pt x="265462" y="325762"/>
                  <a:pt x="265652" y="340430"/>
                </a:cubicBezTo>
                <a:cubicBezTo>
                  <a:pt x="265748" y="355004"/>
                  <a:pt x="253460" y="367672"/>
                  <a:pt x="238792" y="368053"/>
                </a:cubicBezTo>
                <a:close/>
                <a:moveTo>
                  <a:pt x="1591723" y="1446664"/>
                </a:moveTo>
                <a:cubicBezTo>
                  <a:pt x="1606772" y="1447140"/>
                  <a:pt x="1619631" y="1460761"/>
                  <a:pt x="1618964" y="1475620"/>
                </a:cubicBezTo>
                <a:cubicBezTo>
                  <a:pt x="1618298" y="1490670"/>
                  <a:pt x="1604486" y="1503338"/>
                  <a:pt x="1589627" y="1502480"/>
                </a:cubicBezTo>
                <a:cubicBezTo>
                  <a:pt x="1575054" y="1501623"/>
                  <a:pt x="1562862" y="1488669"/>
                  <a:pt x="1563053" y="1474191"/>
                </a:cubicBezTo>
                <a:cubicBezTo>
                  <a:pt x="1563338" y="1459237"/>
                  <a:pt x="1576769" y="1446283"/>
                  <a:pt x="1591723" y="1446664"/>
                </a:cubicBezTo>
                <a:close/>
                <a:moveTo>
                  <a:pt x="449485" y="380340"/>
                </a:moveTo>
                <a:cubicBezTo>
                  <a:pt x="449485" y="365672"/>
                  <a:pt x="461867" y="353099"/>
                  <a:pt x="476536" y="352908"/>
                </a:cubicBezTo>
                <a:cubicBezTo>
                  <a:pt x="491681" y="352718"/>
                  <a:pt x="504825" y="365958"/>
                  <a:pt x="504349" y="381102"/>
                </a:cubicBezTo>
                <a:cubicBezTo>
                  <a:pt x="503873" y="395771"/>
                  <a:pt x="491109" y="408058"/>
                  <a:pt x="476536" y="407868"/>
                </a:cubicBezTo>
                <a:cubicBezTo>
                  <a:pt x="461867" y="407582"/>
                  <a:pt x="449485" y="395009"/>
                  <a:pt x="449485" y="380340"/>
                </a:cubicBezTo>
                <a:close/>
                <a:moveTo>
                  <a:pt x="1539526" y="1276452"/>
                </a:moveTo>
                <a:cubicBezTo>
                  <a:pt x="1554480" y="1276167"/>
                  <a:pt x="1567720" y="1289502"/>
                  <a:pt x="1567529" y="1304456"/>
                </a:cubicBezTo>
                <a:cubicBezTo>
                  <a:pt x="1567339" y="1318934"/>
                  <a:pt x="1554766" y="1331507"/>
                  <a:pt x="1540288" y="1331793"/>
                </a:cubicBezTo>
                <a:cubicBezTo>
                  <a:pt x="1525334" y="1332078"/>
                  <a:pt x="1512094" y="1318743"/>
                  <a:pt x="1512284" y="1303789"/>
                </a:cubicBezTo>
                <a:cubicBezTo>
                  <a:pt x="1512475" y="1289216"/>
                  <a:pt x="1525048" y="1276738"/>
                  <a:pt x="1539526" y="1276452"/>
                </a:cubicBezTo>
                <a:close/>
                <a:moveTo>
                  <a:pt x="885254" y="531693"/>
                </a:moveTo>
                <a:cubicBezTo>
                  <a:pt x="884873" y="546361"/>
                  <a:pt x="872014" y="558648"/>
                  <a:pt x="857441" y="558458"/>
                </a:cubicBezTo>
                <a:cubicBezTo>
                  <a:pt x="842201" y="558267"/>
                  <a:pt x="829437" y="544646"/>
                  <a:pt x="830390" y="529597"/>
                </a:cubicBezTo>
                <a:cubicBezTo>
                  <a:pt x="831247" y="514833"/>
                  <a:pt x="844296" y="502927"/>
                  <a:pt x="858869" y="503594"/>
                </a:cubicBezTo>
                <a:cubicBezTo>
                  <a:pt x="873538" y="504261"/>
                  <a:pt x="885635" y="517214"/>
                  <a:pt x="885254" y="531693"/>
                </a:cubicBezTo>
                <a:close/>
                <a:moveTo>
                  <a:pt x="1030700" y="636468"/>
                </a:moveTo>
                <a:cubicBezTo>
                  <a:pt x="1030510" y="651517"/>
                  <a:pt x="1016984" y="664566"/>
                  <a:pt x="1002030" y="664090"/>
                </a:cubicBezTo>
                <a:cubicBezTo>
                  <a:pt x="986981" y="663614"/>
                  <a:pt x="974122" y="649993"/>
                  <a:pt x="974789" y="635134"/>
                </a:cubicBezTo>
                <a:cubicBezTo>
                  <a:pt x="975455" y="620656"/>
                  <a:pt x="988219" y="608273"/>
                  <a:pt x="1002697" y="608178"/>
                </a:cubicBezTo>
                <a:cubicBezTo>
                  <a:pt x="1017746" y="608178"/>
                  <a:pt x="1030891" y="621513"/>
                  <a:pt x="1030700" y="636468"/>
                </a:cubicBezTo>
                <a:close/>
                <a:moveTo>
                  <a:pt x="1175290" y="743624"/>
                </a:moveTo>
                <a:cubicBezTo>
                  <a:pt x="1175671" y="758578"/>
                  <a:pt x="1162526" y="771913"/>
                  <a:pt x="1147477" y="771818"/>
                </a:cubicBezTo>
                <a:cubicBezTo>
                  <a:pt x="1132999" y="771722"/>
                  <a:pt x="1120331" y="759245"/>
                  <a:pt x="1119950" y="744767"/>
                </a:cubicBezTo>
                <a:cubicBezTo>
                  <a:pt x="1119569" y="729813"/>
                  <a:pt x="1132713" y="716478"/>
                  <a:pt x="1147763" y="716573"/>
                </a:cubicBezTo>
                <a:cubicBezTo>
                  <a:pt x="1162336" y="716668"/>
                  <a:pt x="1175004" y="729146"/>
                  <a:pt x="1175290" y="743624"/>
                </a:cubicBezTo>
                <a:close/>
                <a:moveTo>
                  <a:pt x="318040" y="379578"/>
                </a:moveTo>
                <a:cubicBezTo>
                  <a:pt x="303086" y="379769"/>
                  <a:pt x="289846" y="366434"/>
                  <a:pt x="290132" y="351479"/>
                </a:cubicBezTo>
                <a:cubicBezTo>
                  <a:pt x="290417" y="337002"/>
                  <a:pt x="302990" y="324429"/>
                  <a:pt x="317468" y="324238"/>
                </a:cubicBezTo>
                <a:cubicBezTo>
                  <a:pt x="332423" y="324047"/>
                  <a:pt x="345662" y="337383"/>
                  <a:pt x="345377" y="352337"/>
                </a:cubicBezTo>
                <a:cubicBezTo>
                  <a:pt x="345091" y="366910"/>
                  <a:pt x="332518" y="379388"/>
                  <a:pt x="318040" y="379578"/>
                </a:cubicBezTo>
                <a:close/>
                <a:moveTo>
                  <a:pt x="425006" y="366338"/>
                </a:moveTo>
                <a:cubicBezTo>
                  <a:pt x="424910" y="381388"/>
                  <a:pt x="411385" y="394342"/>
                  <a:pt x="396526" y="393771"/>
                </a:cubicBezTo>
                <a:cubicBezTo>
                  <a:pt x="382048" y="393199"/>
                  <a:pt x="369665" y="380340"/>
                  <a:pt x="369761" y="365958"/>
                </a:cubicBezTo>
                <a:cubicBezTo>
                  <a:pt x="369856" y="350908"/>
                  <a:pt x="383381" y="337954"/>
                  <a:pt x="398336" y="338526"/>
                </a:cubicBezTo>
                <a:cubicBezTo>
                  <a:pt x="412718" y="339097"/>
                  <a:pt x="425101" y="351956"/>
                  <a:pt x="425006" y="366338"/>
                </a:cubicBezTo>
                <a:close/>
                <a:moveTo>
                  <a:pt x="161068" y="353385"/>
                </a:moveTo>
                <a:cubicBezTo>
                  <a:pt x="146114" y="353194"/>
                  <a:pt x="134207" y="341002"/>
                  <a:pt x="134398" y="326048"/>
                </a:cubicBezTo>
                <a:cubicBezTo>
                  <a:pt x="134588" y="311094"/>
                  <a:pt x="146780" y="299187"/>
                  <a:pt x="161735" y="299378"/>
                </a:cubicBezTo>
                <a:cubicBezTo>
                  <a:pt x="176689" y="299568"/>
                  <a:pt x="188595" y="311760"/>
                  <a:pt x="188405" y="326714"/>
                </a:cubicBezTo>
                <a:cubicBezTo>
                  <a:pt x="188214" y="341669"/>
                  <a:pt x="176022" y="353575"/>
                  <a:pt x="161068" y="353385"/>
                </a:cubicBezTo>
                <a:close/>
                <a:moveTo>
                  <a:pt x="583692" y="395104"/>
                </a:moveTo>
                <a:cubicBezTo>
                  <a:pt x="583406" y="409868"/>
                  <a:pt x="571024" y="421869"/>
                  <a:pt x="556260" y="421774"/>
                </a:cubicBezTo>
                <a:cubicBezTo>
                  <a:pt x="541020" y="421679"/>
                  <a:pt x="528447" y="408439"/>
                  <a:pt x="529209" y="393294"/>
                </a:cubicBezTo>
                <a:cubicBezTo>
                  <a:pt x="529971" y="378530"/>
                  <a:pt x="542639" y="366815"/>
                  <a:pt x="557308" y="367291"/>
                </a:cubicBezTo>
                <a:cubicBezTo>
                  <a:pt x="572167" y="367958"/>
                  <a:pt x="584073" y="380436"/>
                  <a:pt x="583692" y="395104"/>
                </a:cubicBezTo>
                <a:close/>
                <a:moveTo>
                  <a:pt x="1318927" y="852209"/>
                </a:moveTo>
                <a:cubicBezTo>
                  <a:pt x="1318927" y="867449"/>
                  <a:pt x="1307211" y="878879"/>
                  <a:pt x="1291876" y="878498"/>
                </a:cubicBezTo>
                <a:cubicBezTo>
                  <a:pt x="1277207" y="878117"/>
                  <a:pt x="1266253" y="866877"/>
                  <a:pt x="1266349" y="852113"/>
                </a:cubicBezTo>
                <a:cubicBezTo>
                  <a:pt x="1266349" y="836873"/>
                  <a:pt x="1278065" y="825444"/>
                  <a:pt x="1293400" y="825825"/>
                </a:cubicBezTo>
                <a:cubicBezTo>
                  <a:pt x="1308068" y="826205"/>
                  <a:pt x="1318927" y="837445"/>
                  <a:pt x="1318927" y="852209"/>
                </a:cubicBezTo>
                <a:close/>
                <a:moveTo>
                  <a:pt x="1628775" y="1397325"/>
                </a:moveTo>
                <a:cubicBezTo>
                  <a:pt x="1629061" y="1412660"/>
                  <a:pt x="1617631" y="1424280"/>
                  <a:pt x="1602391" y="1424280"/>
                </a:cubicBezTo>
                <a:cubicBezTo>
                  <a:pt x="1587627" y="1424185"/>
                  <a:pt x="1576483" y="1413231"/>
                  <a:pt x="1576197" y="1398563"/>
                </a:cubicBezTo>
                <a:cubicBezTo>
                  <a:pt x="1575911" y="1383228"/>
                  <a:pt x="1587341" y="1371607"/>
                  <a:pt x="1602581" y="1371607"/>
                </a:cubicBezTo>
                <a:cubicBezTo>
                  <a:pt x="1617250" y="1371607"/>
                  <a:pt x="1628489" y="1382656"/>
                  <a:pt x="1628775" y="1397325"/>
                </a:cubicBezTo>
                <a:close/>
                <a:moveTo>
                  <a:pt x="1449896" y="1036708"/>
                </a:moveTo>
                <a:cubicBezTo>
                  <a:pt x="1449991" y="1051567"/>
                  <a:pt x="1439132" y="1062997"/>
                  <a:pt x="1424369" y="1063473"/>
                </a:cubicBezTo>
                <a:cubicBezTo>
                  <a:pt x="1409033" y="1063950"/>
                  <a:pt x="1397032" y="1052615"/>
                  <a:pt x="1396937" y="1037279"/>
                </a:cubicBezTo>
                <a:cubicBezTo>
                  <a:pt x="1396841" y="1021944"/>
                  <a:pt x="1408462" y="1010324"/>
                  <a:pt x="1423892" y="1010514"/>
                </a:cubicBezTo>
                <a:cubicBezTo>
                  <a:pt x="1438561" y="1010705"/>
                  <a:pt x="1449705" y="1021849"/>
                  <a:pt x="1449896" y="1036708"/>
                </a:cubicBezTo>
                <a:close/>
                <a:moveTo>
                  <a:pt x="636079" y="435300"/>
                </a:moveTo>
                <a:cubicBezTo>
                  <a:pt x="620744" y="435300"/>
                  <a:pt x="609219" y="423488"/>
                  <a:pt x="609600" y="408153"/>
                </a:cubicBezTo>
                <a:cubicBezTo>
                  <a:pt x="609886" y="393389"/>
                  <a:pt x="621221" y="382341"/>
                  <a:pt x="636079" y="382341"/>
                </a:cubicBezTo>
                <a:cubicBezTo>
                  <a:pt x="651415" y="382341"/>
                  <a:pt x="662940" y="394152"/>
                  <a:pt x="662559" y="409487"/>
                </a:cubicBezTo>
                <a:cubicBezTo>
                  <a:pt x="662273" y="424251"/>
                  <a:pt x="650939" y="435300"/>
                  <a:pt x="636079" y="435300"/>
                </a:cubicBezTo>
                <a:close/>
                <a:moveTo>
                  <a:pt x="1357789" y="972700"/>
                </a:moveTo>
                <a:cubicBezTo>
                  <a:pt x="1342549" y="972605"/>
                  <a:pt x="1331024" y="960698"/>
                  <a:pt x="1331309" y="945459"/>
                </a:cubicBezTo>
                <a:cubicBezTo>
                  <a:pt x="1331595" y="930219"/>
                  <a:pt x="1343692" y="918884"/>
                  <a:pt x="1358932" y="919360"/>
                </a:cubicBezTo>
                <a:cubicBezTo>
                  <a:pt x="1373600" y="919836"/>
                  <a:pt x="1384554" y="931266"/>
                  <a:pt x="1384649" y="945935"/>
                </a:cubicBezTo>
                <a:cubicBezTo>
                  <a:pt x="1384745" y="961079"/>
                  <a:pt x="1373029" y="972795"/>
                  <a:pt x="1357789" y="972700"/>
                </a:cubicBezTo>
                <a:close/>
                <a:moveTo>
                  <a:pt x="81439" y="338430"/>
                </a:moveTo>
                <a:cubicBezTo>
                  <a:pt x="66199" y="338240"/>
                  <a:pt x="54959" y="326334"/>
                  <a:pt x="55531" y="310998"/>
                </a:cubicBezTo>
                <a:cubicBezTo>
                  <a:pt x="56102" y="296425"/>
                  <a:pt x="67532" y="285662"/>
                  <a:pt x="82296" y="285852"/>
                </a:cubicBezTo>
                <a:cubicBezTo>
                  <a:pt x="97536" y="286043"/>
                  <a:pt x="108776" y="297949"/>
                  <a:pt x="108204" y="313284"/>
                </a:cubicBezTo>
                <a:cubicBezTo>
                  <a:pt x="107633" y="327953"/>
                  <a:pt x="96203" y="338716"/>
                  <a:pt x="81439" y="338430"/>
                </a:cubicBezTo>
                <a:close/>
                <a:moveTo>
                  <a:pt x="1627442" y="1568489"/>
                </a:moveTo>
                <a:cubicBezTo>
                  <a:pt x="1627346" y="1553154"/>
                  <a:pt x="1639157" y="1541819"/>
                  <a:pt x="1654493" y="1542200"/>
                </a:cubicBezTo>
                <a:cubicBezTo>
                  <a:pt x="1669161" y="1542676"/>
                  <a:pt x="1679924" y="1554106"/>
                  <a:pt x="1679639" y="1568965"/>
                </a:cubicBezTo>
                <a:cubicBezTo>
                  <a:pt x="1679448" y="1578300"/>
                  <a:pt x="1674876" y="1586015"/>
                  <a:pt x="1667828" y="1590492"/>
                </a:cubicBezTo>
                <a:lnTo>
                  <a:pt x="1639253" y="1590492"/>
                </a:lnTo>
                <a:cubicBezTo>
                  <a:pt x="1632109" y="1586015"/>
                  <a:pt x="1627537" y="1578109"/>
                  <a:pt x="1627442" y="1568489"/>
                </a:cubicBezTo>
                <a:close/>
                <a:moveTo>
                  <a:pt x="1108424" y="650755"/>
                </a:moveTo>
                <a:cubicBezTo>
                  <a:pt x="1108234" y="665519"/>
                  <a:pt x="1097090" y="676568"/>
                  <a:pt x="1082326" y="676568"/>
                </a:cubicBezTo>
                <a:cubicBezTo>
                  <a:pt x="1066991" y="676568"/>
                  <a:pt x="1055656" y="664852"/>
                  <a:pt x="1056132" y="649421"/>
                </a:cubicBezTo>
                <a:cubicBezTo>
                  <a:pt x="1056608" y="634753"/>
                  <a:pt x="1068134" y="623990"/>
                  <a:pt x="1082897" y="624276"/>
                </a:cubicBezTo>
                <a:cubicBezTo>
                  <a:pt x="1097661" y="624561"/>
                  <a:pt x="1108615" y="635896"/>
                  <a:pt x="1108424" y="650755"/>
                </a:cubicBezTo>
                <a:close/>
                <a:moveTo>
                  <a:pt x="937927" y="519120"/>
                </a:moveTo>
                <a:cubicBezTo>
                  <a:pt x="952691" y="519405"/>
                  <a:pt x="963644" y="530645"/>
                  <a:pt x="963549" y="545409"/>
                </a:cubicBezTo>
                <a:cubicBezTo>
                  <a:pt x="963454" y="560744"/>
                  <a:pt x="951643" y="571983"/>
                  <a:pt x="936117" y="571317"/>
                </a:cubicBezTo>
                <a:cubicBezTo>
                  <a:pt x="921449" y="570745"/>
                  <a:pt x="910781" y="559125"/>
                  <a:pt x="911257" y="544266"/>
                </a:cubicBezTo>
                <a:cubicBezTo>
                  <a:pt x="911638" y="529692"/>
                  <a:pt x="923068" y="518834"/>
                  <a:pt x="937927" y="519120"/>
                </a:cubicBezTo>
                <a:close/>
                <a:moveTo>
                  <a:pt x="1515047" y="1131101"/>
                </a:moveTo>
                <a:cubicBezTo>
                  <a:pt x="1514856" y="1146341"/>
                  <a:pt x="1503045" y="1157580"/>
                  <a:pt x="1487710" y="1157104"/>
                </a:cubicBezTo>
                <a:cubicBezTo>
                  <a:pt x="1473041" y="1156628"/>
                  <a:pt x="1462278" y="1145198"/>
                  <a:pt x="1462469" y="1130434"/>
                </a:cubicBezTo>
                <a:cubicBezTo>
                  <a:pt x="1462659" y="1115194"/>
                  <a:pt x="1474470" y="1103955"/>
                  <a:pt x="1489805" y="1104431"/>
                </a:cubicBezTo>
                <a:cubicBezTo>
                  <a:pt x="1504378" y="1104907"/>
                  <a:pt x="1515237" y="1116337"/>
                  <a:pt x="1515047" y="1131101"/>
                </a:cubicBezTo>
                <a:close/>
                <a:moveTo>
                  <a:pt x="715423" y="448920"/>
                </a:moveTo>
                <a:cubicBezTo>
                  <a:pt x="700754" y="448825"/>
                  <a:pt x="689705" y="437490"/>
                  <a:pt x="689801" y="422822"/>
                </a:cubicBezTo>
                <a:cubicBezTo>
                  <a:pt x="689896" y="408153"/>
                  <a:pt x="701231" y="397104"/>
                  <a:pt x="715899" y="397200"/>
                </a:cubicBezTo>
                <a:cubicBezTo>
                  <a:pt x="730568" y="397295"/>
                  <a:pt x="741617" y="408629"/>
                  <a:pt x="741521" y="423298"/>
                </a:cubicBezTo>
                <a:cubicBezTo>
                  <a:pt x="741426" y="437871"/>
                  <a:pt x="730091" y="449016"/>
                  <a:pt x="715423" y="448920"/>
                </a:cubicBezTo>
                <a:close/>
                <a:moveTo>
                  <a:pt x="28004" y="297759"/>
                </a:moveTo>
                <a:cubicBezTo>
                  <a:pt x="28099" y="312427"/>
                  <a:pt x="16669" y="323762"/>
                  <a:pt x="2096" y="323762"/>
                </a:cubicBezTo>
                <a:cubicBezTo>
                  <a:pt x="1429" y="323762"/>
                  <a:pt x="762" y="323571"/>
                  <a:pt x="95" y="323571"/>
                </a:cubicBezTo>
                <a:lnTo>
                  <a:pt x="95" y="272422"/>
                </a:lnTo>
                <a:cubicBezTo>
                  <a:pt x="667" y="272422"/>
                  <a:pt x="1143" y="272231"/>
                  <a:pt x="1715" y="272231"/>
                </a:cubicBezTo>
                <a:cubicBezTo>
                  <a:pt x="16383" y="271946"/>
                  <a:pt x="27908" y="283185"/>
                  <a:pt x="28004" y="297759"/>
                </a:cubicBezTo>
                <a:close/>
                <a:moveTo>
                  <a:pt x="1201484" y="757721"/>
                </a:moveTo>
                <a:cubicBezTo>
                  <a:pt x="1201769" y="743147"/>
                  <a:pt x="1213580" y="732098"/>
                  <a:pt x="1228249" y="732575"/>
                </a:cubicBezTo>
                <a:cubicBezTo>
                  <a:pt x="1242727" y="733051"/>
                  <a:pt x="1253681" y="745053"/>
                  <a:pt x="1253014" y="759721"/>
                </a:cubicBezTo>
                <a:cubicBezTo>
                  <a:pt x="1252347" y="773628"/>
                  <a:pt x="1241012" y="784296"/>
                  <a:pt x="1226915" y="784105"/>
                </a:cubicBezTo>
                <a:cubicBezTo>
                  <a:pt x="1212437" y="784010"/>
                  <a:pt x="1201198" y="772389"/>
                  <a:pt x="1201484" y="757721"/>
                </a:cubicBezTo>
                <a:close/>
                <a:moveTo>
                  <a:pt x="1016318" y="584747"/>
                </a:moveTo>
                <a:cubicBezTo>
                  <a:pt x="1002697" y="584366"/>
                  <a:pt x="991267" y="572364"/>
                  <a:pt x="991648" y="558839"/>
                </a:cubicBezTo>
                <a:cubicBezTo>
                  <a:pt x="992029" y="545218"/>
                  <a:pt x="1004030" y="533788"/>
                  <a:pt x="1017556" y="534169"/>
                </a:cubicBezTo>
                <a:cubicBezTo>
                  <a:pt x="1031177" y="534550"/>
                  <a:pt x="1042607" y="546552"/>
                  <a:pt x="1042226" y="560077"/>
                </a:cubicBezTo>
                <a:cubicBezTo>
                  <a:pt x="1041845" y="573698"/>
                  <a:pt x="1029843" y="585128"/>
                  <a:pt x="1016318" y="584747"/>
                </a:cubicBezTo>
                <a:close/>
                <a:moveTo>
                  <a:pt x="1641920" y="1318267"/>
                </a:moveTo>
                <a:cubicBezTo>
                  <a:pt x="1641920" y="1331888"/>
                  <a:pt x="1630299" y="1343604"/>
                  <a:pt x="1616678" y="1343604"/>
                </a:cubicBezTo>
                <a:cubicBezTo>
                  <a:pt x="1603057" y="1343604"/>
                  <a:pt x="1591342" y="1331983"/>
                  <a:pt x="1591342" y="1318362"/>
                </a:cubicBezTo>
                <a:cubicBezTo>
                  <a:pt x="1591342" y="1304742"/>
                  <a:pt x="1602962" y="1293026"/>
                  <a:pt x="1616583" y="1293026"/>
                </a:cubicBezTo>
                <a:cubicBezTo>
                  <a:pt x="1630204" y="1292930"/>
                  <a:pt x="1641920" y="1304646"/>
                  <a:pt x="1641920" y="1318267"/>
                </a:cubicBezTo>
                <a:close/>
                <a:moveTo>
                  <a:pt x="1667256" y="1463428"/>
                </a:moveTo>
                <a:cubicBezTo>
                  <a:pt x="1680877" y="1463142"/>
                  <a:pt x="1692688" y="1474287"/>
                  <a:pt x="1693259" y="1487907"/>
                </a:cubicBezTo>
                <a:cubicBezTo>
                  <a:pt x="1693831" y="1502004"/>
                  <a:pt x="1681925" y="1514292"/>
                  <a:pt x="1667732" y="1514196"/>
                </a:cubicBezTo>
                <a:cubicBezTo>
                  <a:pt x="1654112" y="1514101"/>
                  <a:pt x="1642586" y="1502671"/>
                  <a:pt x="1642491" y="1488955"/>
                </a:cubicBezTo>
                <a:cubicBezTo>
                  <a:pt x="1642301" y="1475430"/>
                  <a:pt x="1653635" y="1463714"/>
                  <a:pt x="1667256" y="1463428"/>
                </a:cubicBezTo>
                <a:close/>
                <a:moveTo>
                  <a:pt x="817912" y="436633"/>
                </a:moveTo>
                <a:cubicBezTo>
                  <a:pt x="818198" y="450349"/>
                  <a:pt x="807053" y="462160"/>
                  <a:pt x="793337" y="462731"/>
                </a:cubicBezTo>
                <a:cubicBezTo>
                  <a:pt x="779050" y="463303"/>
                  <a:pt x="766858" y="451397"/>
                  <a:pt x="766858" y="437109"/>
                </a:cubicBezTo>
                <a:cubicBezTo>
                  <a:pt x="766953" y="423298"/>
                  <a:pt x="778383" y="411868"/>
                  <a:pt x="792194" y="411773"/>
                </a:cubicBezTo>
                <a:cubicBezTo>
                  <a:pt x="805910" y="411582"/>
                  <a:pt x="817626" y="422917"/>
                  <a:pt x="817912" y="436633"/>
                </a:cubicBezTo>
                <a:close/>
                <a:moveTo>
                  <a:pt x="1551813" y="1250259"/>
                </a:moveTo>
                <a:cubicBezTo>
                  <a:pt x="1537145" y="1250544"/>
                  <a:pt x="1525619" y="1239210"/>
                  <a:pt x="1525524" y="1224636"/>
                </a:cubicBezTo>
                <a:cubicBezTo>
                  <a:pt x="1525429" y="1209968"/>
                  <a:pt x="1536859" y="1198633"/>
                  <a:pt x="1551527" y="1198728"/>
                </a:cubicBezTo>
                <a:cubicBezTo>
                  <a:pt x="1565624" y="1198823"/>
                  <a:pt x="1576673" y="1209682"/>
                  <a:pt x="1577054" y="1223684"/>
                </a:cubicBezTo>
                <a:cubicBezTo>
                  <a:pt x="1577435" y="1238352"/>
                  <a:pt x="1566291" y="1250068"/>
                  <a:pt x="1551813" y="1250259"/>
                </a:cubicBezTo>
                <a:close/>
                <a:moveTo>
                  <a:pt x="1161764" y="639420"/>
                </a:moveTo>
                <a:cubicBezTo>
                  <a:pt x="1175385" y="639325"/>
                  <a:pt x="1187196" y="651327"/>
                  <a:pt x="1187006" y="664852"/>
                </a:cubicBezTo>
                <a:cubicBezTo>
                  <a:pt x="1186815" y="678473"/>
                  <a:pt x="1174718" y="690188"/>
                  <a:pt x="1161193" y="689808"/>
                </a:cubicBezTo>
                <a:cubicBezTo>
                  <a:pt x="1148144" y="689427"/>
                  <a:pt x="1136904" y="678092"/>
                  <a:pt x="1136618" y="665043"/>
                </a:cubicBezTo>
                <a:cubicBezTo>
                  <a:pt x="1136428" y="651517"/>
                  <a:pt x="1148239" y="639516"/>
                  <a:pt x="1161764" y="639420"/>
                </a:cubicBezTo>
                <a:close/>
                <a:moveTo>
                  <a:pt x="1462659" y="959841"/>
                </a:moveTo>
                <a:cubicBezTo>
                  <a:pt x="1462850" y="973271"/>
                  <a:pt x="1451039" y="985178"/>
                  <a:pt x="1437608" y="985178"/>
                </a:cubicBezTo>
                <a:cubicBezTo>
                  <a:pt x="1424178" y="985178"/>
                  <a:pt x="1412367" y="973176"/>
                  <a:pt x="1412557" y="959746"/>
                </a:cubicBezTo>
                <a:cubicBezTo>
                  <a:pt x="1412748" y="946792"/>
                  <a:pt x="1423988" y="935457"/>
                  <a:pt x="1436942" y="935076"/>
                </a:cubicBezTo>
                <a:cubicBezTo>
                  <a:pt x="1450277" y="934695"/>
                  <a:pt x="1462373" y="946411"/>
                  <a:pt x="1462659" y="959841"/>
                </a:cubicBezTo>
                <a:close/>
                <a:moveTo>
                  <a:pt x="1524953" y="1050900"/>
                </a:moveTo>
                <a:cubicBezTo>
                  <a:pt x="1525143" y="1064330"/>
                  <a:pt x="1513046" y="1076332"/>
                  <a:pt x="1499616" y="1076046"/>
                </a:cubicBezTo>
                <a:cubicBezTo>
                  <a:pt x="1486662" y="1075761"/>
                  <a:pt x="1475327" y="1064330"/>
                  <a:pt x="1475232" y="1051472"/>
                </a:cubicBezTo>
                <a:cubicBezTo>
                  <a:pt x="1475042" y="1038042"/>
                  <a:pt x="1487138" y="1026040"/>
                  <a:pt x="1500569" y="1026326"/>
                </a:cubicBezTo>
                <a:cubicBezTo>
                  <a:pt x="1513523" y="1026516"/>
                  <a:pt x="1524857" y="1037946"/>
                  <a:pt x="1524953" y="1050900"/>
                </a:cubicBezTo>
                <a:close/>
                <a:moveTo>
                  <a:pt x="872681" y="426822"/>
                </a:moveTo>
                <a:cubicBezTo>
                  <a:pt x="885730" y="427203"/>
                  <a:pt x="896874" y="438824"/>
                  <a:pt x="896684" y="451778"/>
                </a:cubicBezTo>
                <a:cubicBezTo>
                  <a:pt x="896493" y="465398"/>
                  <a:pt x="884111" y="476924"/>
                  <a:pt x="870585" y="476067"/>
                </a:cubicBezTo>
                <a:cubicBezTo>
                  <a:pt x="857536" y="475209"/>
                  <a:pt x="846677" y="463303"/>
                  <a:pt x="847344" y="450444"/>
                </a:cubicBezTo>
                <a:cubicBezTo>
                  <a:pt x="848011" y="437300"/>
                  <a:pt x="859727" y="426346"/>
                  <a:pt x="872681" y="426822"/>
                </a:cubicBezTo>
                <a:close/>
                <a:moveTo>
                  <a:pt x="1371600" y="891261"/>
                </a:moveTo>
                <a:cubicBezTo>
                  <a:pt x="1358075" y="890880"/>
                  <a:pt x="1346549" y="878403"/>
                  <a:pt x="1347407" y="865068"/>
                </a:cubicBezTo>
                <a:cubicBezTo>
                  <a:pt x="1348264" y="852018"/>
                  <a:pt x="1360075" y="841160"/>
                  <a:pt x="1372838" y="841541"/>
                </a:cubicBezTo>
                <a:cubicBezTo>
                  <a:pt x="1386364" y="841922"/>
                  <a:pt x="1397889" y="854400"/>
                  <a:pt x="1397032" y="867735"/>
                </a:cubicBezTo>
                <a:cubicBezTo>
                  <a:pt x="1396270" y="880784"/>
                  <a:pt x="1384459" y="891642"/>
                  <a:pt x="1371600" y="891261"/>
                </a:cubicBezTo>
                <a:close/>
                <a:moveTo>
                  <a:pt x="411575" y="264516"/>
                </a:moveTo>
                <a:cubicBezTo>
                  <a:pt x="425006" y="264516"/>
                  <a:pt x="436912" y="276804"/>
                  <a:pt x="436340" y="290138"/>
                </a:cubicBezTo>
                <a:cubicBezTo>
                  <a:pt x="435864" y="303093"/>
                  <a:pt x="424339" y="314237"/>
                  <a:pt x="411385" y="314237"/>
                </a:cubicBezTo>
                <a:cubicBezTo>
                  <a:pt x="397955" y="314237"/>
                  <a:pt x="386048" y="301950"/>
                  <a:pt x="386620" y="288614"/>
                </a:cubicBezTo>
                <a:cubicBezTo>
                  <a:pt x="387191" y="275661"/>
                  <a:pt x="398717" y="264516"/>
                  <a:pt x="411575" y="264516"/>
                </a:cubicBezTo>
                <a:close/>
                <a:moveTo>
                  <a:pt x="332232" y="250324"/>
                </a:moveTo>
                <a:cubicBezTo>
                  <a:pt x="345758" y="250514"/>
                  <a:pt x="357473" y="262897"/>
                  <a:pt x="356807" y="276232"/>
                </a:cubicBezTo>
                <a:cubicBezTo>
                  <a:pt x="356140" y="289186"/>
                  <a:pt x="344424" y="300235"/>
                  <a:pt x="331661" y="300045"/>
                </a:cubicBezTo>
                <a:cubicBezTo>
                  <a:pt x="318135" y="299854"/>
                  <a:pt x="306419" y="287471"/>
                  <a:pt x="307086" y="274137"/>
                </a:cubicBezTo>
                <a:cubicBezTo>
                  <a:pt x="307753" y="261278"/>
                  <a:pt x="319469" y="250134"/>
                  <a:pt x="332232" y="250324"/>
                </a:cubicBezTo>
                <a:close/>
                <a:moveTo>
                  <a:pt x="252317" y="285662"/>
                </a:moveTo>
                <a:cubicBezTo>
                  <a:pt x="239268" y="285567"/>
                  <a:pt x="227933" y="274327"/>
                  <a:pt x="227743" y="261278"/>
                </a:cubicBezTo>
                <a:cubicBezTo>
                  <a:pt x="227552" y="247752"/>
                  <a:pt x="239744" y="235846"/>
                  <a:pt x="253175" y="236322"/>
                </a:cubicBezTo>
                <a:cubicBezTo>
                  <a:pt x="266224" y="236798"/>
                  <a:pt x="277273" y="248419"/>
                  <a:pt x="276987" y="261468"/>
                </a:cubicBezTo>
                <a:cubicBezTo>
                  <a:pt x="276797" y="274518"/>
                  <a:pt x="265271" y="285757"/>
                  <a:pt x="252317" y="285662"/>
                </a:cubicBezTo>
                <a:close/>
                <a:moveTo>
                  <a:pt x="1564957" y="1169105"/>
                </a:moveTo>
                <a:cubicBezTo>
                  <a:pt x="1551527" y="1168820"/>
                  <a:pt x="1540859" y="1157485"/>
                  <a:pt x="1541336" y="1144055"/>
                </a:cubicBezTo>
                <a:cubicBezTo>
                  <a:pt x="1541812" y="1130625"/>
                  <a:pt x="1553337" y="1120147"/>
                  <a:pt x="1566767" y="1120909"/>
                </a:cubicBezTo>
                <a:cubicBezTo>
                  <a:pt x="1579626" y="1121576"/>
                  <a:pt x="1589723" y="1132339"/>
                  <a:pt x="1589627" y="1145198"/>
                </a:cubicBezTo>
                <a:cubicBezTo>
                  <a:pt x="1589532" y="1158628"/>
                  <a:pt x="1578388" y="1169391"/>
                  <a:pt x="1564957" y="1169105"/>
                </a:cubicBezTo>
                <a:close/>
                <a:moveTo>
                  <a:pt x="1307211" y="796773"/>
                </a:moveTo>
                <a:cubicBezTo>
                  <a:pt x="1293781" y="796964"/>
                  <a:pt x="1282732" y="786105"/>
                  <a:pt x="1282732" y="772675"/>
                </a:cubicBezTo>
                <a:cubicBezTo>
                  <a:pt x="1282732" y="759245"/>
                  <a:pt x="1293781" y="748386"/>
                  <a:pt x="1307211" y="748577"/>
                </a:cubicBezTo>
                <a:cubicBezTo>
                  <a:pt x="1320070" y="748767"/>
                  <a:pt x="1330643" y="759150"/>
                  <a:pt x="1331024" y="772008"/>
                </a:cubicBezTo>
                <a:cubicBezTo>
                  <a:pt x="1331405" y="785343"/>
                  <a:pt x="1320641" y="796583"/>
                  <a:pt x="1307211" y="796773"/>
                </a:cubicBezTo>
                <a:close/>
                <a:moveTo>
                  <a:pt x="570357" y="290901"/>
                </a:moveTo>
                <a:cubicBezTo>
                  <a:pt x="583787" y="290710"/>
                  <a:pt x="594836" y="301569"/>
                  <a:pt x="594836" y="314999"/>
                </a:cubicBezTo>
                <a:cubicBezTo>
                  <a:pt x="594836" y="328429"/>
                  <a:pt x="583787" y="339383"/>
                  <a:pt x="570357" y="339097"/>
                </a:cubicBezTo>
                <a:cubicBezTo>
                  <a:pt x="557498" y="338906"/>
                  <a:pt x="546926" y="328524"/>
                  <a:pt x="546545" y="315666"/>
                </a:cubicBezTo>
                <a:cubicBezTo>
                  <a:pt x="546164" y="302330"/>
                  <a:pt x="556927" y="291091"/>
                  <a:pt x="570357" y="290901"/>
                </a:cubicBezTo>
                <a:close/>
                <a:moveTo>
                  <a:pt x="491490" y="276422"/>
                </a:moveTo>
                <a:cubicBezTo>
                  <a:pt x="504730" y="276613"/>
                  <a:pt x="515779" y="287948"/>
                  <a:pt x="515588" y="301187"/>
                </a:cubicBezTo>
                <a:cubicBezTo>
                  <a:pt x="515398" y="314427"/>
                  <a:pt x="504063" y="325476"/>
                  <a:pt x="490823" y="325286"/>
                </a:cubicBezTo>
                <a:cubicBezTo>
                  <a:pt x="477584" y="325095"/>
                  <a:pt x="466535" y="313761"/>
                  <a:pt x="466725" y="300521"/>
                </a:cubicBezTo>
                <a:cubicBezTo>
                  <a:pt x="466915" y="287186"/>
                  <a:pt x="478250" y="276137"/>
                  <a:pt x="491490" y="276422"/>
                </a:cubicBezTo>
                <a:close/>
                <a:moveTo>
                  <a:pt x="199739" y="246323"/>
                </a:moveTo>
                <a:cubicBezTo>
                  <a:pt x="200025" y="259754"/>
                  <a:pt x="189167" y="270898"/>
                  <a:pt x="175736" y="270898"/>
                </a:cubicBezTo>
                <a:cubicBezTo>
                  <a:pt x="162306" y="270993"/>
                  <a:pt x="151352" y="259944"/>
                  <a:pt x="151448" y="246514"/>
                </a:cubicBezTo>
                <a:cubicBezTo>
                  <a:pt x="151543" y="233655"/>
                  <a:pt x="161830" y="223083"/>
                  <a:pt x="174784" y="222606"/>
                </a:cubicBezTo>
                <a:cubicBezTo>
                  <a:pt x="188214" y="222225"/>
                  <a:pt x="199549" y="232893"/>
                  <a:pt x="199739" y="246323"/>
                </a:cubicBezTo>
                <a:close/>
                <a:moveTo>
                  <a:pt x="119348" y="232703"/>
                </a:moveTo>
                <a:cubicBezTo>
                  <a:pt x="119348" y="245943"/>
                  <a:pt x="109347" y="255944"/>
                  <a:pt x="96012" y="255848"/>
                </a:cubicBezTo>
                <a:cubicBezTo>
                  <a:pt x="82772" y="255848"/>
                  <a:pt x="72771" y="245847"/>
                  <a:pt x="72866" y="232512"/>
                </a:cubicBezTo>
                <a:cubicBezTo>
                  <a:pt x="72866" y="219177"/>
                  <a:pt x="82867" y="209271"/>
                  <a:pt x="96203" y="209367"/>
                </a:cubicBezTo>
                <a:cubicBezTo>
                  <a:pt x="109442" y="209367"/>
                  <a:pt x="119348" y="219368"/>
                  <a:pt x="119348" y="232703"/>
                </a:cubicBezTo>
                <a:close/>
                <a:moveTo>
                  <a:pt x="1120140" y="574174"/>
                </a:moveTo>
                <a:cubicBezTo>
                  <a:pt x="1119854" y="587795"/>
                  <a:pt x="1109091" y="597891"/>
                  <a:pt x="1095375" y="597225"/>
                </a:cubicBezTo>
                <a:cubicBezTo>
                  <a:pt x="1082421" y="596653"/>
                  <a:pt x="1072801" y="586271"/>
                  <a:pt x="1072991" y="573126"/>
                </a:cubicBezTo>
                <a:cubicBezTo>
                  <a:pt x="1073277" y="559505"/>
                  <a:pt x="1084040" y="549409"/>
                  <a:pt x="1097756" y="550076"/>
                </a:cubicBezTo>
                <a:cubicBezTo>
                  <a:pt x="1110710" y="550647"/>
                  <a:pt x="1120331" y="561029"/>
                  <a:pt x="1120140" y="574174"/>
                </a:cubicBezTo>
                <a:close/>
                <a:moveTo>
                  <a:pt x="1682591" y="1432853"/>
                </a:moveTo>
                <a:cubicBezTo>
                  <a:pt x="1668875" y="1433139"/>
                  <a:pt x="1658398" y="1422852"/>
                  <a:pt x="1658398" y="1409136"/>
                </a:cubicBezTo>
                <a:cubicBezTo>
                  <a:pt x="1658493" y="1395991"/>
                  <a:pt x="1668304" y="1385990"/>
                  <a:pt x="1681353" y="1385609"/>
                </a:cubicBezTo>
                <a:cubicBezTo>
                  <a:pt x="1695069" y="1385323"/>
                  <a:pt x="1705547" y="1395610"/>
                  <a:pt x="1705547" y="1409326"/>
                </a:cubicBezTo>
                <a:cubicBezTo>
                  <a:pt x="1705547" y="1422471"/>
                  <a:pt x="1695736" y="1432567"/>
                  <a:pt x="1682591" y="1432853"/>
                </a:cubicBezTo>
                <a:close/>
                <a:moveTo>
                  <a:pt x="673703" y="328620"/>
                </a:moveTo>
                <a:cubicBezTo>
                  <a:pt x="673989" y="341859"/>
                  <a:pt x="664369" y="352146"/>
                  <a:pt x="651224" y="352622"/>
                </a:cubicBezTo>
                <a:cubicBezTo>
                  <a:pt x="637413" y="353099"/>
                  <a:pt x="626840" y="342812"/>
                  <a:pt x="626936" y="329096"/>
                </a:cubicBezTo>
                <a:cubicBezTo>
                  <a:pt x="627031" y="315856"/>
                  <a:pt x="636937" y="305950"/>
                  <a:pt x="650177" y="305855"/>
                </a:cubicBezTo>
                <a:cubicBezTo>
                  <a:pt x="663321" y="305664"/>
                  <a:pt x="673418" y="315475"/>
                  <a:pt x="673703" y="328620"/>
                </a:cubicBezTo>
                <a:close/>
                <a:moveTo>
                  <a:pt x="1711262" y="1590587"/>
                </a:moveTo>
                <a:cubicBezTo>
                  <a:pt x="1710404" y="1588015"/>
                  <a:pt x="1709928" y="1585348"/>
                  <a:pt x="1709928" y="1582395"/>
                </a:cubicBezTo>
                <a:cubicBezTo>
                  <a:pt x="1710023" y="1569060"/>
                  <a:pt x="1720120" y="1559250"/>
                  <a:pt x="1733455" y="1559440"/>
                </a:cubicBezTo>
                <a:cubicBezTo>
                  <a:pt x="1746790" y="1559535"/>
                  <a:pt x="1756601" y="1569632"/>
                  <a:pt x="1756410" y="1582967"/>
                </a:cubicBezTo>
                <a:cubicBezTo>
                  <a:pt x="1756410" y="1585729"/>
                  <a:pt x="1755839" y="1588205"/>
                  <a:pt x="1755077" y="1590587"/>
                </a:cubicBezTo>
                <a:lnTo>
                  <a:pt x="1711262" y="1590587"/>
                </a:lnTo>
                <a:close/>
                <a:moveTo>
                  <a:pt x="974789" y="465018"/>
                </a:moveTo>
                <a:cubicBezTo>
                  <a:pt x="975074" y="478353"/>
                  <a:pt x="965359" y="488544"/>
                  <a:pt x="952214" y="488925"/>
                </a:cubicBezTo>
                <a:cubicBezTo>
                  <a:pt x="938879" y="489211"/>
                  <a:pt x="928688" y="479496"/>
                  <a:pt x="928307" y="466351"/>
                </a:cubicBezTo>
                <a:cubicBezTo>
                  <a:pt x="928021" y="453016"/>
                  <a:pt x="937736" y="442824"/>
                  <a:pt x="950881" y="442443"/>
                </a:cubicBezTo>
                <a:cubicBezTo>
                  <a:pt x="964311" y="442062"/>
                  <a:pt x="974503" y="451778"/>
                  <a:pt x="974789" y="465018"/>
                </a:cubicBezTo>
                <a:close/>
                <a:moveTo>
                  <a:pt x="1536859" y="971843"/>
                </a:moveTo>
                <a:cubicBezTo>
                  <a:pt x="1536668" y="984035"/>
                  <a:pt x="1526096" y="994227"/>
                  <a:pt x="1513999" y="994036"/>
                </a:cubicBezTo>
                <a:cubicBezTo>
                  <a:pt x="1501807" y="993846"/>
                  <a:pt x="1491615" y="983273"/>
                  <a:pt x="1491806" y="971176"/>
                </a:cubicBezTo>
                <a:cubicBezTo>
                  <a:pt x="1491996" y="958984"/>
                  <a:pt x="1502569" y="948792"/>
                  <a:pt x="1514666" y="948983"/>
                </a:cubicBezTo>
                <a:cubicBezTo>
                  <a:pt x="1526857" y="949173"/>
                  <a:pt x="1537049" y="959746"/>
                  <a:pt x="1536859" y="971843"/>
                </a:cubicBezTo>
                <a:close/>
                <a:moveTo>
                  <a:pt x="1240917" y="655708"/>
                </a:moveTo>
                <a:cubicBezTo>
                  <a:pt x="1254252" y="655422"/>
                  <a:pt x="1264444" y="665233"/>
                  <a:pt x="1264634" y="678568"/>
                </a:cubicBezTo>
                <a:cubicBezTo>
                  <a:pt x="1264730" y="691903"/>
                  <a:pt x="1254728" y="702000"/>
                  <a:pt x="1241393" y="701904"/>
                </a:cubicBezTo>
                <a:cubicBezTo>
                  <a:pt x="1228630" y="701809"/>
                  <a:pt x="1218819" y="692475"/>
                  <a:pt x="1218438" y="679806"/>
                </a:cubicBezTo>
                <a:cubicBezTo>
                  <a:pt x="1217867" y="666376"/>
                  <a:pt x="1227677" y="655994"/>
                  <a:pt x="1240917" y="655708"/>
                </a:cubicBezTo>
                <a:close/>
                <a:moveTo>
                  <a:pt x="1630585" y="1215683"/>
                </a:moveTo>
                <a:cubicBezTo>
                  <a:pt x="1643920" y="1215588"/>
                  <a:pt x="1654016" y="1225589"/>
                  <a:pt x="1653921" y="1238924"/>
                </a:cubicBezTo>
                <a:cubicBezTo>
                  <a:pt x="1653826" y="1252259"/>
                  <a:pt x="1643729" y="1262165"/>
                  <a:pt x="1630394" y="1261879"/>
                </a:cubicBezTo>
                <a:cubicBezTo>
                  <a:pt x="1617631" y="1261689"/>
                  <a:pt x="1608106" y="1252068"/>
                  <a:pt x="1607820" y="1239400"/>
                </a:cubicBezTo>
                <a:cubicBezTo>
                  <a:pt x="1607439" y="1225970"/>
                  <a:pt x="1617345" y="1215778"/>
                  <a:pt x="1630585" y="1215683"/>
                </a:cubicBezTo>
                <a:close/>
                <a:moveTo>
                  <a:pt x="39243" y="218892"/>
                </a:moveTo>
                <a:cubicBezTo>
                  <a:pt x="38957" y="231369"/>
                  <a:pt x="28861" y="241180"/>
                  <a:pt x="16288" y="241085"/>
                </a:cubicBezTo>
                <a:cubicBezTo>
                  <a:pt x="9906" y="241085"/>
                  <a:pt x="4191" y="238418"/>
                  <a:pt x="95" y="234131"/>
                </a:cubicBezTo>
                <a:lnTo>
                  <a:pt x="95" y="202604"/>
                </a:lnTo>
                <a:cubicBezTo>
                  <a:pt x="4382" y="198127"/>
                  <a:pt x="10573" y="195365"/>
                  <a:pt x="17336" y="195651"/>
                </a:cubicBezTo>
                <a:cubicBezTo>
                  <a:pt x="29813" y="196127"/>
                  <a:pt x="39529" y="206414"/>
                  <a:pt x="39243" y="218892"/>
                </a:cubicBezTo>
                <a:close/>
                <a:moveTo>
                  <a:pt x="1471517" y="880974"/>
                </a:moveTo>
                <a:cubicBezTo>
                  <a:pt x="1471327" y="893166"/>
                  <a:pt x="1460754" y="903358"/>
                  <a:pt x="1448657" y="903168"/>
                </a:cubicBezTo>
                <a:cubicBezTo>
                  <a:pt x="1436465" y="902977"/>
                  <a:pt x="1426274" y="892404"/>
                  <a:pt x="1426464" y="880308"/>
                </a:cubicBezTo>
                <a:cubicBezTo>
                  <a:pt x="1426655" y="868116"/>
                  <a:pt x="1437227" y="857924"/>
                  <a:pt x="1449324" y="858114"/>
                </a:cubicBezTo>
                <a:cubicBezTo>
                  <a:pt x="1461421" y="858210"/>
                  <a:pt x="1471708" y="868782"/>
                  <a:pt x="1471517" y="880974"/>
                </a:cubicBezTo>
                <a:close/>
                <a:moveTo>
                  <a:pt x="749999" y="343955"/>
                </a:moveTo>
                <a:cubicBezTo>
                  <a:pt x="749713" y="357099"/>
                  <a:pt x="739331" y="366815"/>
                  <a:pt x="726186" y="366434"/>
                </a:cubicBezTo>
                <a:cubicBezTo>
                  <a:pt x="713137" y="366053"/>
                  <a:pt x="703517" y="355480"/>
                  <a:pt x="704088" y="342240"/>
                </a:cubicBezTo>
                <a:cubicBezTo>
                  <a:pt x="704660" y="329762"/>
                  <a:pt x="714566" y="320428"/>
                  <a:pt x="727234" y="320523"/>
                </a:cubicBezTo>
                <a:cubicBezTo>
                  <a:pt x="740378" y="320523"/>
                  <a:pt x="750284" y="330715"/>
                  <a:pt x="749999" y="343955"/>
                </a:cubicBezTo>
                <a:close/>
                <a:moveTo>
                  <a:pt x="1696593" y="1354938"/>
                </a:moveTo>
                <a:cubicBezTo>
                  <a:pt x="1684592" y="1355129"/>
                  <a:pt x="1673828" y="1344556"/>
                  <a:pt x="1673828" y="1332459"/>
                </a:cubicBezTo>
                <a:cubicBezTo>
                  <a:pt x="1673828" y="1320363"/>
                  <a:pt x="1684592" y="1309790"/>
                  <a:pt x="1696593" y="1310076"/>
                </a:cubicBezTo>
                <a:cubicBezTo>
                  <a:pt x="1708118" y="1310266"/>
                  <a:pt x="1718215" y="1320267"/>
                  <a:pt x="1718691" y="1331793"/>
                </a:cubicBezTo>
                <a:cubicBezTo>
                  <a:pt x="1719072" y="1343794"/>
                  <a:pt x="1708690" y="1354748"/>
                  <a:pt x="1696593" y="1354938"/>
                </a:cubicBezTo>
                <a:close/>
                <a:moveTo>
                  <a:pt x="1383316" y="764579"/>
                </a:moveTo>
                <a:cubicBezTo>
                  <a:pt x="1395317" y="764388"/>
                  <a:pt x="1406081" y="775342"/>
                  <a:pt x="1405795" y="787344"/>
                </a:cubicBezTo>
                <a:cubicBezTo>
                  <a:pt x="1405509" y="798869"/>
                  <a:pt x="1395222" y="808965"/>
                  <a:pt x="1383792" y="809156"/>
                </a:cubicBezTo>
                <a:cubicBezTo>
                  <a:pt x="1371791" y="809346"/>
                  <a:pt x="1361027" y="798393"/>
                  <a:pt x="1361313" y="786391"/>
                </a:cubicBezTo>
                <a:cubicBezTo>
                  <a:pt x="1361599" y="774866"/>
                  <a:pt x="1371886" y="764674"/>
                  <a:pt x="1383316" y="764579"/>
                </a:cubicBezTo>
                <a:close/>
                <a:moveTo>
                  <a:pt x="807053" y="335192"/>
                </a:moveTo>
                <a:cubicBezTo>
                  <a:pt x="819150" y="335478"/>
                  <a:pt x="829532" y="346431"/>
                  <a:pt x="829056" y="358433"/>
                </a:cubicBezTo>
                <a:cubicBezTo>
                  <a:pt x="828580" y="370529"/>
                  <a:pt x="817436" y="380721"/>
                  <a:pt x="805529" y="380054"/>
                </a:cubicBezTo>
                <a:cubicBezTo>
                  <a:pt x="794004" y="379388"/>
                  <a:pt x="784193" y="369005"/>
                  <a:pt x="784193" y="357576"/>
                </a:cubicBezTo>
                <a:cubicBezTo>
                  <a:pt x="784193" y="345479"/>
                  <a:pt x="795052" y="335001"/>
                  <a:pt x="807053" y="335192"/>
                </a:cubicBezTo>
                <a:close/>
                <a:moveTo>
                  <a:pt x="1053465" y="479496"/>
                </a:moveTo>
                <a:cubicBezTo>
                  <a:pt x="1053751" y="491497"/>
                  <a:pt x="1042892" y="502355"/>
                  <a:pt x="1030891" y="502165"/>
                </a:cubicBezTo>
                <a:cubicBezTo>
                  <a:pt x="1019366" y="501975"/>
                  <a:pt x="1009174" y="491783"/>
                  <a:pt x="1008888" y="480258"/>
                </a:cubicBezTo>
                <a:cubicBezTo>
                  <a:pt x="1008602" y="468256"/>
                  <a:pt x="1019461" y="457397"/>
                  <a:pt x="1031462" y="457588"/>
                </a:cubicBezTo>
                <a:cubicBezTo>
                  <a:pt x="1042988" y="457779"/>
                  <a:pt x="1053179" y="467970"/>
                  <a:pt x="1053465" y="479496"/>
                </a:cubicBezTo>
                <a:close/>
                <a:moveTo>
                  <a:pt x="1602010" y="1064997"/>
                </a:moveTo>
                <a:cubicBezTo>
                  <a:pt x="1602200" y="1076427"/>
                  <a:pt x="1592294" y="1087000"/>
                  <a:pt x="1580769" y="1087667"/>
                </a:cubicBezTo>
                <a:cubicBezTo>
                  <a:pt x="1568863" y="1088334"/>
                  <a:pt x="1557623" y="1077761"/>
                  <a:pt x="1557433" y="1065759"/>
                </a:cubicBezTo>
                <a:cubicBezTo>
                  <a:pt x="1557242" y="1053758"/>
                  <a:pt x="1568006" y="1042899"/>
                  <a:pt x="1580007" y="1043090"/>
                </a:cubicBezTo>
                <a:cubicBezTo>
                  <a:pt x="1591532" y="1043280"/>
                  <a:pt x="1601724" y="1053472"/>
                  <a:pt x="1602010" y="1064997"/>
                </a:cubicBezTo>
                <a:close/>
                <a:moveTo>
                  <a:pt x="1198340" y="584747"/>
                </a:moveTo>
                <a:cubicBezTo>
                  <a:pt x="1198531" y="596748"/>
                  <a:pt x="1187672" y="607607"/>
                  <a:pt x="1175671" y="607321"/>
                </a:cubicBezTo>
                <a:cubicBezTo>
                  <a:pt x="1164146" y="607035"/>
                  <a:pt x="1153954" y="596844"/>
                  <a:pt x="1153859" y="585318"/>
                </a:cubicBezTo>
                <a:cubicBezTo>
                  <a:pt x="1153668" y="573317"/>
                  <a:pt x="1164527" y="562458"/>
                  <a:pt x="1176528" y="562744"/>
                </a:cubicBezTo>
                <a:cubicBezTo>
                  <a:pt x="1188053" y="563030"/>
                  <a:pt x="1198245" y="573221"/>
                  <a:pt x="1198340" y="584747"/>
                </a:cubicBezTo>
                <a:close/>
                <a:moveTo>
                  <a:pt x="1747838" y="1480668"/>
                </a:moveTo>
                <a:cubicBezTo>
                  <a:pt x="1759934" y="1480954"/>
                  <a:pt x="1770317" y="1491908"/>
                  <a:pt x="1769840" y="1503909"/>
                </a:cubicBezTo>
                <a:cubicBezTo>
                  <a:pt x="1769364" y="1516006"/>
                  <a:pt x="1758220" y="1526198"/>
                  <a:pt x="1746314" y="1525531"/>
                </a:cubicBezTo>
                <a:cubicBezTo>
                  <a:pt x="1734788" y="1524864"/>
                  <a:pt x="1724978" y="1514482"/>
                  <a:pt x="1724978" y="1503052"/>
                </a:cubicBezTo>
                <a:cubicBezTo>
                  <a:pt x="1724978" y="1490955"/>
                  <a:pt x="1735836" y="1480383"/>
                  <a:pt x="1747838" y="1480668"/>
                </a:cubicBezTo>
                <a:close/>
                <a:moveTo>
                  <a:pt x="1666399" y="1160247"/>
                </a:moveTo>
                <a:cubicBezTo>
                  <a:pt x="1665827" y="1172154"/>
                  <a:pt x="1655540" y="1181202"/>
                  <a:pt x="1643729" y="1180440"/>
                </a:cubicBezTo>
                <a:cubicBezTo>
                  <a:pt x="1631823" y="1179678"/>
                  <a:pt x="1622965" y="1169296"/>
                  <a:pt x="1623917" y="1157485"/>
                </a:cubicBezTo>
                <a:cubicBezTo>
                  <a:pt x="1624870" y="1146150"/>
                  <a:pt x="1634490" y="1137578"/>
                  <a:pt x="1645825" y="1137959"/>
                </a:cubicBezTo>
                <a:cubicBezTo>
                  <a:pt x="1657636" y="1138245"/>
                  <a:pt x="1666970" y="1148341"/>
                  <a:pt x="1666399" y="1160247"/>
                </a:cubicBezTo>
                <a:close/>
                <a:moveTo>
                  <a:pt x="1342358" y="693332"/>
                </a:moveTo>
                <a:cubicBezTo>
                  <a:pt x="1342168" y="705238"/>
                  <a:pt x="1332262" y="714668"/>
                  <a:pt x="1320356" y="714287"/>
                </a:cubicBezTo>
                <a:cubicBezTo>
                  <a:pt x="1308449" y="713906"/>
                  <a:pt x="1299115" y="703809"/>
                  <a:pt x="1299686" y="691998"/>
                </a:cubicBezTo>
                <a:cubicBezTo>
                  <a:pt x="1300258" y="680663"/>
                  <a:pt x="1309592" y="671710"/>
                  <a:pt x="1320927" y="671710"/>
                </a:cubicBezTo>
                <a:cubicBezTo>
                  <a:pt x="1332928" y="671710"/>
                  <a:pt x="1342549" y="681426"/>
                  <a:pt x="1342358" y="693332"/>
                </a:cubicBezTo>
                <a:close/>
                <a:moveTo>
                  <a:pt x="367094" y="195460"/>
                </a:moveTo>
                <a:cubicBezTo>
                  <a:pt x="367189" y="207080"/>
                  <a:pt x="358521" y="216129"/>
                  <a:pt x="346996" y="216510"/>
                </a:cubicBezTo>
                <a:cubicBezTo>
                  <a:pt x="334804" y="216987"/>
                  <a:pt x="325279" y="207843"/>
                  <a:pt x="325184" y="195651"/>
                </a:cubicBezTo>
                <a:cubicBezTo>
                  <a:pt x="325088" y="183459"/>
                  <a:pt x="334518" y="174219"/>
                  <a:pt x="346710" y="174600"/>
                </a:cubicBezTo>
                <a:cubicBezTo>
                  <a:pt x="358331" y="174981"/>
                  <a:pt x="367094" y="183839"/>
                  <a:pt x="367094" y="195460"/>
                </a:cubicBezTo>
                <a:close/>
                <a:moveTo>
                  <a:pt x="446723" y="210510"/>
                </a:moveTo>
                <a:cubicBezTo>
                  <a:pt x="446342" y="222606"/>
                  <a:pt x="436531" y="231464"/>
                  <a:pt x="424339" y="230703"/>
                </a:cubicBezTo>
                <a:cubicBezTo>
                  <a:pt x="412814" y="230036"/>
                  <a:pt x="404432" y="220701"/>
                  <a:pt x="404813" y="209081"/>
                </a:cubicBezTo>
                <a:cubicBezTo>
                  <a:pt x="405194" y="196984"/>
                  <a:pt x="415004" y="188126"/>
                  <a:pt x="427196" y="188888"/>
                </a:cubicBezTo>
                <a:cubicBezTo>
                  <a:pt x="438722" y="189650"/>
                  <a:pt x="447104" y="198889"/>
                  <a:pt x="446723" y="210510"/>
                </a:cubicBezTo>
                <a:close/>
                <a:moveTo>
                  <a:pt x="526066" y="223845"/>
                </a:moveTo>
                <a:cubicBezTo>
                  <a:pt x="526161" y="235655"/>
                  <a:pt x="517589" y="244419"/>
                  <a:pt x="505873" y="244704"/>
                </a:cubicBezTo>
                <a:cubicBezTo>
                  <a:pt x="493490" y="244990"/>
                  <a:pt x="484346" y="235846"/>
                  <a:pt x="484632" y="223463"/>
                </a:cubicBezTo>
                <a:cubicBezTo>
                  <a:pt x="484918" y="211748"/>
                  <a:pt x="493776" y="203175"/>
                  <a:pt x="505492" y="203270"/>
                </a:cubicBezTo>
                <a:cubicBezTo>
                  <a:pt x="517303" y="203461"/>
                  <a:pt x="525971" y="212129"/>
                  <a:pt x="526066" y="223845"/>
                </a:cubicBezTo>
                <a:close/>
                <a:moveTo>
                  <a:pt x="266033" y="160694"/>
                </a:moveTo>
                <a:cubicBezTo>
                  <a:pt x="277844" y="160408"/>
                  <a:pt x="286798" y="168790"/>
                  <a:pt x="287274" y="180506"/>
                </a:cubicBezTo>
                <a:cubicBezTo>
                  <a:pt x="287750" y="192888"/>
                  <a:pt x="278702" y="202223"/>
                  <a:pt x="266414" y="202128"/>
                </a:cubicBezTo>
                <a:cubicBezTo>
                  <a:pt x="254699" y="202032"/>
                  <a:pt x="245936" y="193364"/>
                  <a:pt x="245840" y="181649"/>
                </a:cubicBezTo>
                <a:cubicBezTo>
                  <a:pt x="245840" y="169838"/>
                  <a:pt x="254318" y="160979"/>
                  <a:pt x="266033" y="160694"/>
                </a:cubicBezTo>
                <a:close/>
                <a:moveTo>
                  <a:pt x="886206" y="350908"/>
                </a:moveTo>
                <a:cubicBezTo>
                  <a:pt x="898398" y="350908"/>
                  <a:pt x="907542" y="360338"/>
                  <a:pt x="907161" y="372530"/>
                </a:cubicBezTo>
                <a:cubicBezTo>
                  <a:pt x="906780" y="384150"/>
                  <a:pt x="897827" y="392818"/>
                  <a:pt x="886206" y="392818"/>
                </a:cubicBezTo>
                <a:cubicBezTo>
                  <a:pt x="874014" y="392818"/>
                  <a:pt x="864870" y="383388"/>
                  <a:pt x="865251" y="371196"/>
                </a:cubicBezTo>
                <a:cubicBezTo>
                  <a:pt x="865632" y="359576"/>
                  <a:pt x="874586" y="350908"/>
                  <a:pt x="886206" y="350908"/>
                </a:cubicBezTo>
                <a:close/>
                <a:moveTo>
                  <a:pt x="1110139" y="473780"/>
                </a:moveTo>
                <a:cubicBezTo>
                  <a:pt x="1121950" y="473495"/>
                  <a:pt x="1130903" y="482067"/>
                  <a:pt x="1131094" y="493878"/>
                </a:cubicBezTo>
                <a:cubicBezTo>
                  <a:pt x="1131189" y="505689"/>
                  <a:pt x="1122521" y="514547"/>
                  <a:pt x="1110710" y="514452"/>
                </a:cubicBezTo>
                <a:cubicBezTo>
                  <a:pt x="1099471" y="514357"/>
                  <a:pt x="1090994" y="506261"/>
                  <a:pt x="1090517" y="495117"/>
                </a:cubicBezTo>
                <a:cubicBezTo>
                  <a:pt x="1089946" y="483210"/>
                  <a:pt x="1098423" y="474066"/>
                  <a:pt x="1110139" y="473780"/>
                </a:cubicBezTo>
                <a:close/>
                <a:moveTo>
                  <a:pt x="186404" y="146883"/>
                </a:moveTo>
                <a:cubicBezTo>
                  <a:pt x="198215" y="146597"/>
                  <a:pt x="207169" y="155169"/>
                  <a:pt x="207359" y="166980"/>
                </a:cubicBezTo>
                <a:cubicBezTo>
                  <a:pt x="207455" y="178791"/>
                  <a:pt x="198787" y="187650"/>
                  <a:pt x="186976" y="187554"/>
                </a:cubicBezTo>
                <a:cubicBezTo>
                  <a:pt x="175736" y="187554"/>
                  <a:pt x="167259" y="179363"/>
                  <a:pt x="166783" y="168219"/>
                </a:cubicBezTo>
                <a:cubicBezTo>
                  <a:pt x="166211" y="156312"/>
                  <a:pt x="174689" y="147168"/>
                  <a:pt x="186404" y="146883"/>
                </a:cubicBezTo>
                <a:close/>
                <a:moveTo>
                  <a:pt x="564642" y="237084"/>
                </a:moveTo>
                <a:cubicBezTo>
                  <a:pt x="565214" y="225369"/>
                  <a:pt x="574548" y="217177"/>
                  <a:pt x="586454" y="217939"/>
                </a:cubicBezTo>
                <a:cubicBezTo>
                  <a:pt x="597599" y="218701"/>
                  <a:pt x="605504" y="227369"/>
                  <a:pt x="605314" y="238704"/>
                </a:cubicBezTo>
                <a:cubicBezTo>
                  <a:pt x="605123" y="250514"/>
                  <a:pt x="596075" y="258992"/>
                  <a:pt x="584168" y="258611"/>
                </a:cubicBezTo>
                <a:cubicBezTo>
                  <a:pt x="572453" y="258230"/>
                  <a:pt x="564071" y="248991"/>
                  <a:pt x="564642" y="237084"/>
                </a:cubicBezTo>
                <a:close/>
                <a:moveTo>
                  <a:pt x="1275683" y="599511"/>
                </a:moveTo>
                <a:cubicBezTo>
                  <a:pt x="1275493" y="611036"/>
                  <a:pt x="1266158" y="619799"/>
                  <a:pt x="1254633" y="619227"/>
                </a:cubicBezTo>
                <a:cubicBezTo>
                  <a:pt x="1243775" y="618751"/>
                  <a:pt x="1235488" y="609797"/>
                  <a:pt x="1235678" y="598844"/>
                </a:cubicBezTo>
                <a:cubicBezTo>
                  <a:pt x="1235869" y="587319"/>
                  <a:pt x="1245203" y="578555"/>
                  <a:pt x="1256728" y="579127"/>
                </a:cubicBezTo>
                <a:cubicBezTo>
                  <a:pt x="1267587" y="579698"/>
                  <a:pt x="1275874" y="588557"/>
                  <a:pt x="1275683" y="599511"/>
                </a:cubicBezTo>
                <a:close/>
                <a:moveTo>
                  <a:pt x="1730597" y="1252735"/>
                </a:moveTo>
                <a:cubicBezTo>
                  <a:pt x="1730693" y="1263879"/>
                  <a:pt x="1722406" y="1272642"/>
                  <a:pt x="1711357" y="1273119"/>
                </a:cubicBezTo>
                <a:cubicBezTo>
                  <a:pt x="1699641" y="1273595"/>
                  <a:pt x="1690402" y="1264927"/>
                  <a:pt x="1690211" y="1253211"/>
                </a:cubicBezTo>
                <a:cubicBezTo>
                  <a:pt x="1690116" y="1241496"/>
                  <a:pt x="1699165" y="1232542"/>
                  <a:pt x="1710881" y="1232828"/>
                </a:cubicBezTo>
                <a:cubicBezTo>
                  <a:pt x="1722120" y="1233018"/>
                  <a:pt x="1730502" y="1241496"/>
                  <a:pt x="1730597" y="1252735"/>
                </a:cubicBezTo>
                <a:close/>
                <a:moveTo>
                  <a:pt x="1762220" y="1443806"/>
                </a:moveTo>
                <a:cubicBezTo>
                  <a:pt x="1750409" y="1444092"/>
                  <a:pt x="1741456" y="1435520"/>
                  <a:pt x="1741265" y="1423709"/>
                </a:cubicBezTo>
                <a:cubicBezTo>
                  <a:pt x="1741170" y="1411898"/>
                  <a:pt x="1749838" y="1403039"/>
                  <a:pt x="1761649" y="1403135"/>
                </a:cubicBezTo>
                <a:cubicBezTo>
                  <a:pt x="1772888" y="1403230"/>
                  <a:pt x="1781366" y="1411326"/>
                  <a:pt x="1781842" y="1422471"/>
                </a:cubicBezTo>
                <a:cubicBezTo>
                  <a:pt x="1782413" y="1434377"/>
                  <a:pt x="1773936" y="1443521"/>
                  <a:pt x="1762220" y="1443806"/>
                </a:cubicBezTo>
                <a:close/>
                <a:moveTo>
                  <a:pt x="985742" y="386151"/>
                </a:moveTo>
                <a:cubicBezTo>
                  <a:pt x="985742" y="397009"/>
                  <a:pt x="976884" y="405867"/>
                  <a:pt x="966121" y="405962"/>
                </a:cubicBezTo>
                <a:cubicBezTo>
                  <a:pt x="954786" y="406153"/>
                  <a:pt x="945452" y="396628"/>
                  <a:pt x="945928" y="385293"/>
                </a:cubicBezTo>
                <a:cubicBezTo>
                  <a:pt x="946309" y="374530"/>
                  <a:pt x="955453" y="365958"/>
                  <a:pt x="966311" y="366148"/>
                </a:cubicBezTo>
                <a:cubicBezTo>
                  <a:pt x="977075" y="366338"/>
                  <a:pt x="985742" y="375292"/>
                  <a:pt x="985742" y="386151"/>
                </a:cubicBezTo>
                <a:close/>
                <a:moveTo>
                  <a:pt x="665131" y="229750"/>
                </a:moveTo>
                <a:cubicBezTo>
                  <a:pt x="675894" y="230036"/>
                  <a:pt x="684562" y="239085"/>
                  <a:pt x="684467" y="249943"/>
                </a:cubicBezTo>
                <a:cubicBezTo>
                  <a:pt x="684371" y="261278"/>
                  <a:pt x="674561" y="270327"/>
                  <a:pt x="663226" y="269660"/>
                </a:cubicBezTo>
                <a:cubicBezTo>
                  <a:pt x="652463" y="268993"/>
                  <a:pt x="644081" y="259563"/>
                  <a:pt x="644557" y="248800"/>
                </a:cubicBezTo>
                <a:cubicBezTo>
                  <a:pt x="645128" y="237942"/>
                  <a:pt x="654272" y="229369"/>
                  <a:pt x="665131" y="229750"/>
                </a:cubicBezTo>
                <a:close/>
                <a:moveTo>
                  <a:pt x="1793939" y="1590587"/>
                </a:moveTo>
                <a:cubicBezTo>
                  <a:pt x="1796701" y="1582491"/>
                  <a:pt x="1804321" y="1576776"/>
                  <a:pt x="1813274" y="1576966"/>
                </a:cubicBezTo>
                <a:cubicBezTo>
                  <a:pt x="1821847" y="1577156"/>
                  <a:pt x="1828991" y="1582872"/>
                  <a:pt x="1831562" y="1590587"/>
                </a:cubicBezTo>
                <a:lnTo>
                  <a:pt x="1793939" y="1590587"/>
                </a:lnTo>
                <a:close/>
                <a:moveTo>
                  <a:pt x="1548384" y="895262"/>
                </a:moveTo>
                <a:cubicBezTo>
                  <a:pt x="1548098" y="905930"/>
                  <a:pt x="1538764" y="914883"/>
                  <a:pt x="1528096" y="914597"/>
                </a:cubicBezTo>
                <a:cubicBezTo>
                  <a:pt x="1517428" y="914312"/>
                  <a:pt x="1508474" y="904977"/>
                  <a:pt x="1508760" y="894309"/>
                </a:cubicBezTo>
                <a:cubicBezTo>
                  <a:pt x="1509046" y="883641"/>
                  <a:pt x="1518380" y="874688"/>
                  <a:pt x="1529048" y="874973"/>
                </a:cubicBezTo>
                <a:cubicBezTo>
                  <a:pt x="1539716" y="875259"/>
                  <a:pt x="1548575" y="884594"/>
                  <a:pt x="1548384" y="895262"/>
                </a:cubicBezTo>
                <a:close/>
                <a:moveTo>
                  <a:pt x="130207" y="153455"/>
                </a:moveTo>
                <a:cubicBezTo>
                  <a:pt x="130016" y="164313"/>
                  <a:pt x="121063" y="172981"/>
                  <a:pt x="110204" y="172981"/>
                </a:cubicBezTo>
                <a:cubicBezTo>
                  <a:pt x="98870" y="172981"/>
                  <a:pt x="89726" y="163266"/>
                  <a:pt x="90392" y="151931"/>
                </a:cubicBezTo>
                <a:cubicBezTo>
                  <a:pt x="90964" y="141168"/>
                  <a:pt x="100298" y="132690"/>
                  <a:pt x="111062" y="133167"/>
                </a:cubicBezTo>
                <a:cubicBezTo>
                  <a:pt x="121825" y="133452"/>
                  <a:pt x="130397" y="142596"/>
                  <a:pt x="130207" y="153455"/>
                </a:cubicBezTo>
                <a:close/>
                <a:moveTo>
                  <a:pt x="1416939" y="706953"/>
                </a:moveTo>
                <a:cubicBezTo>
                  <a:pt x="1417130" y="717049"/>
                  <a:pt x="1408367" y="726193"/>
                  <a:pt x="1398175" y="726384"/>
                </a:cubicBezTo>
                <a:cubicBezTo>
                  <a:pt x="1388078" y="726574"/>
                  <a:pt x="1378934" y="717811"/>
                  <a:pt x="1378744" y="707619"/>
                </a:cubicBezTo>
                <a:cubicBezTo>
                  <a:pt x="1378553" y="697523"/>
                  <a:pt x="1387316" y="688379"/>
                  <a:pt x="1397508" y="688188"/>
                </a:cubicBezTo>
                <a:cubicBezTo>
                  <a:pt x="1407605" y="687903"/>
                  <a:pt x="1416749" y="696761"/>
                  <a:pt x="1416939" y="706953"/>
                </a:cubicBezTo>
                <a:close/>
                <a:moveTo>
                  <a:pt x="1482852" y="800393"/>
                </a:moveTo>
                <a:cubicBezTo>
                  <a:pt x="1483233" y="810966"/>
                  <a:pt x="1474089" y="820491"/>
                  <a:pt x="1463421" y="820681"/>
                </a:cubicBezTo>
                <a:cubicBezTo>
                  <a:pt x="1452753" y="820871"/>
                  <a:pt x="1443038" y="811537"/>
                  <a:pt x="1443609" y="800869"/>
                </a:cubicBezTo>
                <a:cubicBezTo>
                  <a:pt x="1444181" y="789344"/>
                  <a:pt x="1450848" y="782581"/>
                  <a:pt x="1462183" y="781438"/>
                </a:cubicBezTo>
                <a:cubicBezTo>
                  <a:pt x="1472660" y="780390"/>
                  <a:pt x="1482471" y="789820"/>
                  <a:pt x="1482852" y="800393"/>
                </a:cubicBezTo>
                <a:close/>
                <a:moveTo>
                  <a:pt x="1593532" y="1005466"/>
                </a:moveTo>
                <a:cubicBezTo>
                  <a:pt x="1582865" y="1005276"/>
                  <a:pt x="1573816" y="995655"/>
                  <a:pt x="1574197" y="985083"/>
                </a:cubicBezTo>
                <a:cubicBezTo>
                  <a:pt x="1574578" y="974414"/>
                  <a:pt x="1584389" y="965080"/>
                  <a:pt x="1594866" y="966223"/>
                </a:cubicBezTo>
                <a:cubicBezTo>
                  <a:pt x="1606201" y="967461"/>
                  <a:pt x="1612868" y="974224"/>
                  <a:pt x="1613440" y="985749"/>
                </a:cubicBezTo>
                <a:cubicBezTo>
                  <a:pt x="1614011" y="996417"/>
                  <a:pt x="1604201" y="1005656"/>
                  <a:pt x="1593532" y="1005466"/>
                </a:cubicBezTo>
                <a:close/>
                <a:moveTo>
                  <a:pt x="50006" y="138786"/>
                </a:moveTo>
                <a:cubicBezTo>
                  <a:pt x="50006" y="148883"/>
                  <a:pt x="41148" y="157931"/>
                  <a:pt x="31052" y="158122"/>
                </a:cubicBezTo>
                <a:cubicBezTo>
                  <a:pt x="20479" y="158312"/>
                  <a:pt x="10954" y="148692"/>
                  <a:pt x="11335" y="138120"/>
                </a:cubicBezTo>
                <a:cubicBezTo>
                  <a:pt x="11716" y="128023"/>
                  <a:pt x="20955" y="119260"/>
                  <a:pt x="31052" y="119451"/>
                </a:cubicBezTo>
                <a:cubicBezTo>
                  <a:pt x="41148" y="119641"/>
                  <a:pt x="50006" y="128690"/>
                  <a:pt x="50006" y="138786"/>
                </a:cubicBezTo>
                <a:close/>
                <a:moveTo>
                  <a:pt x="760762" y="263278"/>
                </a:moveTo>
                <a:cubicBezTo>
                  <a:pt x="761143" y="273755"/>
                  <a:pt x="751618" y="283471"/>
                  <a:pt x="741045" y="283376"/>
                </a:cubicBezTo>
                <a:cubicBezTo>
                  <a:pt x="731044" y="283280"/>
                  <a:pt x="721995" y="274422"/>
                  <a:pt x="721614" y="264421"/>
                </a:cubicBezTo>
                <a:cubicBezTo>
                  <a:pt x="721233" y="253848"/>
                  <a:pt x="730758" y="244228"/>
                  <a:pt x="741331" y="244323"/>
                </a:cubicBezTo>
                <a:cubicBezTo>
                  <a:pt x="751427" y="244419"/>
                  <a:pt x="760476" y="253277"/>
                  <a:pt x="760762" y="263278"/>
                </a:cubicBezTo>
                <a:close/>
                <a:moveTo>
                  <a:pt x="1678400" y="1079952"/>
                </a:moveTo>
                <a:cubicBezTo>
                  <a:pt x="1678210" y="1090143"/>
                  <a:pt x="1669066" y="1098906"/>
                  <a:pt x="1658969" y="1098716"/>
                </a:cubicBezTo>
                <a:cubicBezTo>
                  <a:pt x="1648778" y="1098525"/>
                  <a:pt x="1640015" y="1089381"/>
                  <a:pt x="1640205" y="1079285"/>
                </a:cubicBezTo>
                <a:cubicBezTo>
                  <a:pt x="1640396" y="1069093"/>
                  <a:pt x="1649540" y="1060330"/>
                  <a:pt x="1659636" y="1060521"/>
                </a:cubicBezTo>
                <a:cubicBezTo>
                  <a:pt x="1669828" y="1060711"/>
                  <a:pt x="1678591" y="1069760"/>
                  <a:pt x="1678400" y="1079952"/>
                </a:cubicBezTo>
                <a:close/>
                <a:moveTo>
                  <a:pt x="1827371" y="1498766"/>
                </a:moveTo>
                <a:cubicBezTo>
                  <a:pt x="1838516" y="1499433"/>
                  <a:pt x="1846612" y="1508577"/>
                  <a:pt x="1845278" y="1518959"/>
                </a:cubicBezTo>
                <a:cubicBezTo>
                  <a:pt x="1843850" y="1530008"/>
                  <a:pt x="1836896" y="1535723"/>
                  <a:pt x="1825943" y="1535532"/>
                </a:cubicBezTo>
                <a:cubicBezTo>
                  <a:pt x="1815465" y="1535437"/>
                  <a:pt x="1807369" y="1525817"/>
                  <a:pt x="1808702" y="1515435"/>
                </a:cubicBezTo>
                <a:cubicBezTo>
                  <a:pt x="1810131" y="1504386"/>
                  <a:pt x="1817180" y="1499242"/>
                  <a:pt x="1827371" y="1498766"/>
                </a:cubicBezTo>
                <a:close/>
                <a:moveTo>
                  <a:pt x="1775270" y="1365606"/>
                </a:moveTo>
                <a:cubicBezTo>
                  <a:pt x="1764982" y="1365321"/>
                  <a:pt x="1756410" y="1356081"/>
                  <a:pt x="1756982" y="1345889"/>
                </a:cubicBezTo>
                <a:cubicBezTo>
                  <a:pt x="1757458" y="1335603"/>
                  <a:pt x="1766983" y="1326839"/>
                  <a:pt x="1776984" y="1328078"/>
                </a:cubicBezTo>
                <a:cubicBezTo>
                  <a:pt x="1787843" y="1329411"/>
                  <a:pt x="1794034" y="1335984"/>
                  <a:pt x="1794510" y="1346937"/>
                </a:cubicBezTo>
                <a:cubicBezTo>
                  <a:pt x="1794986" y="1357129"/>
                  <a:pt x="1785557" y="1365892"/>
                  <a:pt x="1775270" y="1365606"/>
                </a:cubicBezTo>
                <a:close/>
                <a:moveTo>
                  <a:pt x="1189673" y="489402"/>
                </a:moveTo>
                <a:cubicBezTo>
                  <a:pt x="1199864" y="489021"/>
                  <a:pt x="1209008" y="497593"/>
                  <a:pt x="1209199" y="507880"/>
                </a:cubicBezTo>
                <a:cubicBezTo>
                  <a:pt x="1209389" y="518072"/>
                  <a:pt x="1200626" y="527406"/>
                  <a:pt x="1190339" y="526930"/>
                </a:cubicBezTo>
                <a:cubicBezTo>
                  <a:pt x="1179386" y="526359"/>
                  <a:pt x="1172813" y="520072"/>
                  <a:pt x="1171670" y="509213"/>
                </a:cubicBezTo>
                <a:cubicBezTo>
                  <a:pt x="1170432" y="499212"/>
                  <a:pt x="1179386" y="489878"/>
                  <a:pt x="1189673" y="489402"/>
                </a:cubicBezTo>
                <a:close/>
                <a:moveTo>
                  <a:pt x="1044797" y="381769"/>
                </a:moveTo>
                <a:cubicBezTo>
                  <a:pt x="1055942" y="381769"/>
                  <a:pt x="1064609" y="390532"/>
                  <a:pt x="1063752" y="401010"/>
                </a:cubicBezTo>
                <a:cubicBezTo>
                  <a:pt x="1062800" y="412059"/>
                  <a:pt x="1056323" y="418250"/>
                  <a:pt x="1045274" y="418631"/>
                </a:cubicBezTo>
                <a:cubicBezTo>
                  <a:pt x="1034796" y="419012"/>
                  <a:pt x="1026128" y="409963"/>
                  <a:pt x="1026986" y="399486"/>
                </a:cubicBezTo>
                <a:cubicBezTo>
                  <a:pt x="1027938" y="388437"/>
                  <a:pt x="1034510" y="382721"/>
                  <a:pt x="1044797" y="381769"/>
                </a:cubicBezTo>
                <a:close/>
                <a:moveTo>
                  <a:pt x="838962" y="277851"/>
                </a:moveTo>
                <a:cubicBezTo>
                  <a:pt x="838200" y="288805"/>
                  <a:pt x="832580" y="295377"/>
                  <a:pt x="821436" y="296139"/>
                </a:cubicBezTo>
                <a:cubicBezTo>
                  <a:pt x="810768" y="296806"/>
                  <a:pt x="802196" y="288424"/>
                  <a:pt x="802767" y="277756"/>
                </a:cubicBezTo>
                <a:cubicBezTo>
                  <a:pt x="803339" y="266612"/>
                  <a:pt x="809720" y="260230"/>
                  <a:pt x="820769" y="260230"/>
                </a:cubicBezTo>
                <a:cubicBezTo>
                  <a:pt x="832009" y="260135"/>
                  <a:pt x="837914" y="266802"/>
                  <a:pt x="838962" y="277851"/>
                </a:cubicBezTo>
                <a:close/>
                <a:moveTo>
                  <a:pt x="899636" y="274994"/>
                </a:moveTo>
                <a:cubicBezTo>
                  <a:pt x="910209" y="275756"/>
                  <a:pt x="916972" y="280899"/>
                  <a:pt x="917353" y="291567"/>
                </a:cubicBezTo>
                <a:cubicBezTo>
                  <a:pt x="917734" y="302140"/>
                  <a:pt x="911638" y="308712"/>
                  <a:pt x="901065" y="309093"/>
                </a:cubicBezTo>
                <a:cubicBezTo>
                  <a:pt x="890492" y="309474"/>
                  <a:pt x="884015" y="303473"/>
                  <a:pt x="883444" y="292901"/>
                </a:cubicBezTo>
                <a:cubicBezTo>
                  <a:pt x="882968" y="282233"/>
                  <a:pt x="889445" y="276708"/>
                  <a:pt x="899636" y="274994"/>
                </a:cubicBezTo>
                <a:close/>
                <a:moveTo>
                  <a:pt x="1706975" y="1173582"/>
                </a:moveTo>
                <a:cubicBezTo>
                  <a:pt x="1707642" y="1162152"/>
                  <a:pt x="1715929" y="1154818"/>
                  <a:pt x="1726121" y="1155961"/>
                </a:cubicBezTo>
                <a:cubicBezTo>
                  <a:pt x="1737360" y="1157199"/>
                  <a:pt x="1742980" y="1164153"/>
                  <a:pt x="1741932" y="1175297"/>
                </a:cubicBezTo>
                <a:cubicBezTo>
                  <a:pt x="1740980" y="1185870"/>
                  <a:pt x="1734217" y="1191394"/>
                  <a:pt x="1723835" y="1190918"/>
                </a:cubicBezTo>
                <a:cubicBezTo>
                  <a:pt x="1712500" y="1190251"/>
                  <a:pt x="1707356" y="1183203"/>
                  <a:pt x="1706975" y="1173582"/>
                </a:cubicBezTo>
                <a:close/>
                <a:moveTo>
                  <a:pt x="1332643" y="595701"/>
                </a:moveTo>
                <a:cubicBezTo>
                  <a:pt x="1343692" y="596939"/>
                  <a:pt x="1350169" y="602749"/>
                  <a:pt x="1349788" y="613988"/>
                </a:cubicBezTo>
                <a:cubicBezTo>
                  <a:pt x="1349407" y="625228"/>
                  <a:pt x="1342644" y="631324"/>
                  <a:pt x="1331405" y="630848"/>
                </a:cubicBezTo>
                <a:cubicBezTo>
                  <a:pt x="1320927" y="630467"/>
                  <a:pt x="1314926" y="624085"/>
                  <a:pt x="1314926" y="613512"/>
                </a:cubicBezTo>
                <a:cubicBezTo>
                  <a:pt x="1314926" y="602178"/>
                  <a:pt x="1321594" y="596653"/>
                  <a:pt x="1332643" y="595701"/>
                </a:cubicBezTo>
                <a:close/>
                <a:moveTo>
                  <a:pt x="1808607" y="1270833"/>
                </a:moveTo>
                <a:cubicBezTo>
                  <a:pt x="1802321" y="1275023"/>
                  <a:pt x="1796320" y="1281977"/>
                  <a:pt x="1789557" y="1282834"/>
                </a:cubicBezTo>
                <a:cubicBezTo>
                  <a:pt x="1780127" y="1284072"/>
                  <a:pt x="1773650" y="1276643"/>
                  <a:pt x="1773936" y="1266832"/>
                </a:cubicBezTo>
                <a:cubicBezTo>
                  <a:pt x="1774127" y="1257021"/>
                  <a:pt x="1780889" y="1249782"/>
                  <a:pt x="1790319" y="1251497"/>
                </a:cubicBezTo>
                <a:cubicBezTo>
                  <a:pt x="1797082" y="1252735"/>
                  <a:pt x="1802702" y="1259784"/>
                  <a:pt x="1808798" y="1264355"/>
                </a:cubicBezTo>
                <a:cubicBezTo>
                  <a:pt x="1808702" y="1266451"/>
                  <a:pt x="1808702" y="1268642"/>
                  <a:pt x="1808607" y="1270833"/>
                </a:cubicBezTo>
                <a:close/>
                <a:moveTo>
                  <a:pt x="1860137" y="1440854"/>
                </a:moveTo>
                <a:cubicBezTo>
                  <a:pt x="1853946" y="1445330"/>
                  <a:pt x="1848326" y="1451808"/>
                  <a:pt x="1841468" y="1453808"/>
                </a:cubicBezTo>
                <a:cubicBezTo>
                  <a:pt x="1833086" y="1456189"/>
                  <a:pt x="1823752" y="1445997"/>
                  <a:pt x="1824704" y="1437044"/>
                </a:cubicBezTo>
                <a:cubicBezTo>
                  <a:pt x="1825752" y="1427328"/>
                  <a:pt x="1831943" y="1419994"/>
                  <a:pt x="1841373" y="1421709"/>
                </a:cubicBezTo>
                <a:cubicBezTo>
                  <a:pt x="1848136" y="1422947"/>
                  <a:pt x="1853946" y="1429900"/>
                  <a:pt x="1860137" y="1434377"/>
                </a:cubicBezTo>
                <a:cubicBezTo>
                  <a:pt x="1860137" y="1436568"/>
                  <a:pt x="1860137" y="1438663"/>
                  <a:pt x="1860137" y="1440854"/>
                </a:cubicBezTo>
                <a:close/>
                <a:moveTo>
                  <a:pt x="1143953" y="417678"/>
                </a:moveTo>
                <a:cubicBezTo>
                  <a:pt x="1137761" y="422155"/>
                  <a:pt x="1132142" y="428632"/>
                  <a:pt x="1125284" y="430632"/>
                </a:cubicBezTo>
                <a:cubicBezTo>
                  <a:pt x="1116902" y="433013"/>
                  <a:pt x="1107567" y="422822"/>
                  <a:pt x="1108520" y="413868"/>
                </a:cubicBezTo>
                <a:cubicBezTo>
                  <a:pt x="1109567" y="404153"/>
                  <a:pt x="1115759" y="396819"/>
                  <a:pt x="1125188" y="398533"/>
                </a:cubicBezTo>
                <a:cubicBezTo>
                  <a:pt x="1131951" y="399771"/>
                  <a:pt x="1137761" y="406820"/>
                  <a:pt x="1143953" y="411201"/>
                </a:cubicBezTo>
                <a:cubicBezTo>
                  <a:pt x="1143857" y="413297"/>
                  <a:pt x="1143953" y="415487"/>
                  <a:pt x="1143953" y="417678"/>
                </a:cubicBezTo>
                <a:close/>
                <a:moveTo>
                  <a:pt x="299657" y="105735"/>
                </a:moveTo>
                <a:cubicBezTo>
                  <a:pt x="293275" y="110021"/>
                  <a:pt x="287465" y="116307"/>
                  <a:pt x="280511" y="117927"/>
                </a:cubicBezTo>
                <a:cubicBezTo>
                  <a:pt x="272034" y="120022"/>
                  <a:pt x="263081" y="109354"/>
                  <a:pt x="264414" y="100591"/>
                </a:cubicBezTo>
                <a:cubicBezTo>
                  <a:pt x="265843" y="90971"/>
                  <a:pt x="272320" y="83827"/>
                  <a:pt x="281654" y="85827"/>
                </a:cubicBezTo>
                <a:cubicBezTo>
                  <a:pt x="288417" y="87256"/>
                  <a:pt x="293846" y="94590"/>
                  <a:pt x="299942" y="99258"/>
                </a:cubicBezTo>
                <a:cubicBezTo>
                  <a:pt x="299752" y="101448"/>
                  <a:pt x="299752" y="103544"/>
                  <a:pt x="299657" y="105735"/>
                </a:cubicBezTo>
                <a:close/>
                <a:moveTo>
                  <a:pt x="1627156" y="911645"/>
                </a:moveTo>
                <a:cubicBezTo>
                  <a:pt x="1621060" y="916312"/>
                  <a:pt x="1615631" y="922884"/>
                  <a:pt x="1608773" y="925075"/>
                </a:cubicBezTo>
                <a:cubicBezTo>
                  <a:pt x="1600486" y="927742"/>
                  <a:pt x="1590961" y="917741"/>
                  <a:pt x="1591532" y="908787"/>
                </a:cubicBezTo>
                <a:cubicBezTo>
                  <a:pt x="1592199" y="898977"/>
                  <a:pt x="1598390" y="891642"/>
                  <a:pt x="1607820" y="892976"/>
                </a:cubicBezTo>
                <a:cubicBezTo>
                  <a:pt x="1614678" y="894023"/>
                  <a:pt x="1620584" y="900881"/>
                  <a:pt x="1626965" y="905168"/>
                </a:cubicBezTo>
                <a:cubicBezTo>
                  <a:pt x="1627061" y="907359"/>
                  <a:pt x="1627156" y="909549"/>
                  <a:pt x="1627156" y="911645"/>
                </a:cubicBezTo>
                <a:close/>
                <a:moveTo>
                  <a:pt x="457486" y="125356"/>
                </a:moveTo>
                <a:cubicBezTo>
                  <a:pt x="455771" y="140120"/>
                  <a:pt x="450437" y="146883"/>
                  <a:pt x="439769" y="146787"/>
                </a:cubicBezTo>
                <a:cubicBezTo>
                  <a:pt x="429959" y="146692"/>
                  <a:pt x="423577" y="140501"/>
                  <a:pt x="423386" y="130690"/>
                </a:cubicBezTo>
                <a:cubicBezTo>
                  <a:pt x="423196" y="120117"/>
                  <a:pt x="429863" y="112593"/>
                  <a:pt x="440055" y="114021"/>
                </a:cubicBezTo>
                <a:cubicBezTo>
                  <a:pt x="446913" y="115069"/>
                  <a:pt x="452723" y="122118"/>
                  <a:pt x="457486" y="125356"/>
                </a:cubicBezTo>
                <a:close/>
                <a:moveTo>
                  <a:pt x="1561624" y="818871"/>
                </a:moveTo>
                <a:cubicBezTo>
                  <a:pt x="1555337" y="823158"/>
                  <a:pt x="1549527" y="829539"/>
                  <a:pt x="1542574" y="831349"/>
                </a:cubicBezTo>
                <a:cubicBezTo>
                  <a:pt x="1534192" y="833540"/>
                  <a:pt x="1525048" y="823062"/>
                  <a:pt x="1526191" y="814204"/>
                </a:cubicBezTo>
                <a:cubicBezTo>
                  <a:pt x="1527524" y="804488"/>
                  <a:pt x="1533811" y="797345"/>
                  <a:pt x="1543241" y="799250"/>
                </a:cubicBezTo>
                <a:cubicBezTo>
                  <a:pt x="1550003" y="800583"/>
                  <a:pt x="1555528" y="807822"/>
                  <a:pt x="1561719" y="812394"/>
                </a:cubicBezTo>
                <a:cubicBezTo>
                  <a:pt x="1561719" y="814585"/>
                  <a:pt x="1561719" y="816680"/>
                  <a:pt x="1561624" y="818871"/>
                </a:cubicBezTo>
                <a:close/>
                <a:moveTo>
                  <a:pt x="1266920" y="541218"/>
                </a:moveTo>
                <a:cubicBezTo>
                  <a:pt x="1262444" y="535026"/>
                  <a:pt x="1255300" y="529406"/>
                  <a:pt x="1254157" y="522644"/>
                </a:cubicBezTo>
                <a:cubicBezTo>
                  <a:pt x="1252538" y="513214"/>
                  <a:pt x="1259777" y="506546"/>
                  <a:pt x="1269587" y="506356"/>
                </a:cubicBezTo>
                <a:cubicBezTo>
                  <a:pt x="1279398" y="506166"/>
                  <a:pt x="1286828" y="512643"/>
                  <a:pt x="1285589" y="522072"/>
                </a:cubicBezTo>
                <a:cubicBezTo>
                  <a:pt x="1284637" y="528835"/>
                  <a:pt x="1277779" y="534741"/>
                  <a:pt x="1273493" y="541122"/>
                </a:cubicBezTo>
                <a:cubicBezTo>
                  <a:pt x="1271302" y="541122"/>
                  <a:pt x="1269111" y="541218"/>
                  <a:pt x="1266920" y="541218"/>
                </a:cubicBezTo>
                <a:close/>
                <a:moveTo>
                  <a:pt x="538448" y="147835"/>
                </a:moveTo>
                <a:cubicBezTo>
                  <a:pt x="532257" y="152217"/>
                  <a:pt x="526542" y="158694"/>
                  <a:pt x="519589" y="160598"/>
                </a:cubicBezTo>
                <a:cubicBezTo>
                  <a:pt x="511207" y="162885"/>
                  <a:pt x="501968" y="152597"/>
                  <a:pt x="503015" y="143739"/>
                </a:cubicBezTo>
                <a:cubicBezTo>
                  <a:pt x="504158" y="134024"/>
                  <a:pt x="510445" y="126785"/>
                  <a:pt x="519875" y="128595"/>
                </a:cubicBezTo>
                <a:cubicBezTo>
                  <a:pt x="526637" y="129833"/>
                  <a:pt x="532352" y="136977"/>
                  <a:pt x="538544" y="141453"/>
                </a:cubicBezTo>
                <a:cubicBezTo>
                  <a:pt x="538544" y="143549"/>
                  <a:pt x="538544" y="145644"/>
                  <a:pt x="538448" y="147835"/>
                </a:cubicBezTo>
                <a:close/>
                <a:moveTo>
                  <a:pt x="355664" y="98495"/>
                </a:moveTo>
                <a:cubicBezTo>
                  <a:pt x="370332" y="100305"/>
                  <a:pt x="377190" y="105639"/>
                  <a:pt x="377000" y="116307"/>
                </a:cubicBezTo>
                <a:cubicBezTo>
                  <a:pt x="376904" y="126118"/>
                  <a:pt x="370618" y="132404"/>
                  <a:pt x="360807" y="132595"/>
                </a:cubicBezTo>
                <a:cubicBezTo>
                  <a:pt x="350234" y="132690"/>
                  <a:pt x="342710" y="125928"/>
                  <a:pt x="344234" y="115831"/>
                </a:cubicBezTo>
                <a:cubicBezTo>
                  <a:pt x="345281" y="109068"/>
                  <a:pt x="352425" y="103163"/>
                  <a:pt x="355664" y="98495"/>
                </a:cubicBezTo>
                <a:close/>
                <a:moveTo>
                  <a:pt x="1495901" y="724097"/>
                </a:moveTo>
                <a:cubicBezTo>
                  <a:pt x="1489805" y="728574"/>
                  <a:pt x="1484281" y="735718"/>
                  <a:pt x="1477613" y="736861"/>
                </a:cubicBezTo>
                <a:cubicBezTo>
                  <a:pt x="1468184" y="738480"/>
                  <a:pt x="1460373" y="730860"/>
                  <a:pt x="1462088" y="721526"/>
                </a:cubicBezTo>
                <a:cubicBezTo>
                  <a:pt x="1463231" y="715430"/>
                  <a:pt x="1471041" y="706857"/>
                  <a:pt x="1476470" y="706381"/>
                </a:cubicBezTo>
                <a:cubicBezTo>
                  <a:pt x="1482471" y="705905"/>
                  <a:pt x="1489139" y="713334"/>
                  <a:pt x="1495616" y="717335"/>
                </a:cubicBezTo>
                <a:cubicBezTo>
                  <a:pt x="1495711" y="719621"/>
                  <a:pt x="1495806" y="721812"/>
                  <a:pt x="1495901" y="724097"/>
                </a:cubicBezTo>
                <a:close/>
                <a:moveTo>
                  <a:pt x="595789" y="177077"/>
                </a:moveTo>
                <a:cubicBezTo>
                  <a:pt x="591598" y="170886"/>
                  <a:pt x="584645" y="164980"/>
                  <a:pt x="583692" y="158312"/>
                </a:cubicBezTo>
                <a:cubicBezTo>
                  <a:pt x="582454" y="148883"/>
                  <a:pt x="590360" y="141358"/>
                  <a:pt x="599599" y="143454"/>
                </a:cubicBezTo>
                <a:cubicBezTo>
                  <a:pt x="605600" y="144787"/>
                  <a:pt x="613886" y="152979"/>
                  <a:pt x="614077" y="158408"/>
                </a:cubicBezTo>
                <a:cubicBezTo>
                  <a:pt x="614363" y="164409"/>
                  <a:pt x="606647" y="170790"/>
                  <a:pt x="602456" y="177077"/>
                </a:cubicBezTo>
                <a:cubicBezTo>
                  <a:pt x="600266" y="177077"/>
                  <a:pt x="598075" y="177077"/>
                  <a:pt x="595789" y="177077"/>
                </a:cubicBezTo>
                <a:close/>
                <a:moveTo>
                  <a:pt x="219456" y="91447"/>
                </a:moveTo>
                <a:cubicBezTo>
                  <a:pt x="213170" y="95543"/>
                  <a:pt x="207074" y="102305"/>
                  <a:pt x="200406" y="103068"/>
                </a:cubicBezTo>
                <a:cubicBezTo>
                  <a:pt x="190976" y="104020"/>
                  <a:pt x="183547" y="96019"/>
                  <a:pt x="185928" y="86780"/>
                </a:cubicBezTo>
                <a:cubicBezTo>
                  <a:pt x="187452" y="80779"/>
                  <a:pt x="195834" y="72778"/>
                  <a:pt x="201263" y="72683"/>
                </a:cubicBezTo>
                <a:cubicBezTo>
                  <a:pt x="207264" y="72587"/>
                  <a:pt x="213551" y="80398"/>
                  <a:pt x="219647" y="84779"/>
                </a:cubicBezTo>
                <a:cubicBezTo>
                  <a:pt x="219551" y="86970"/>
                  <a:pt x="219551" y="89161"/>
                  <a:pt x="219456" y="91447"/>
                </a:cubicBezTo>
                <a:close/>
                <a:moveTo>
                  <a:pt x="1691354" y="1003752"/>
                </a:moveTo>
                <a:cubicBezTo>
                  <a:pt x="1685068" y="1007657"/>
                  <a:pt x="1678496" y="1015086"/>
                  <a:pt x="1672590" y="1014610"/>
                </a:cubicBezTo>
                <a:cubicBezTo>
                  <a:pt x="1667256" y="1014134"/>
                  <a:pt x="1659541" y="1005561"/>
                  <a:pt x="1658588" y="999561"/>
                </a:cubicBezTo>
                <a:cubicBezTo>
                  <a:pt x="1656969" y="990131"/>
                  <a:pt x="1664875" y="983082"/>
                  <a:pt x="1674400" y="984892"/>
                </a:cubicBezTo>
                <a:cubicBezTo>
                  <a:pt x="1680686" y="986130"/>
                  <a:pt x="1685830" y="992988"/>
                  <a:pt x="1691450" y="997275"/>
                </a:cubicBezTo>
                <a:cubicBezTo>
                  <a:pt x="1691450" y="999465"/>
                  <a:pt x="1691450" y="1001656"/>
                  <a:pt x="1691354" y="1003752"/>
                </a:cubicBezTo>
                <a:close/>
                <a:moveTo>
                  <a:pt x="984123" y="289186"/>
                </a:moveTo>
                <a:cubicBezTo>
                  <a:pt x="987743" y="295187"/>
                  <a:pt x="993743" y="300902"/>
                  <a:pt x="994601" y="307188"/>
                </a:cubicBezTo>
                <a:cubicBezTo>
                  <a:pt x="995744" y="316428"/>
                  <a:pt x="988790" y="321857"/>
                  <a:pt x="979361" y="321476"/>
                </a:cubicBezTo>
                <a:cubicBezTo>
                  <a:pt x="969836" y="321095"/>
                  <a:pt x="963549" y="314904"/>
                  <a:pt x="965454" y="305950"/>
                </a:cubicBezTo>
                <a:cubicBezTo>
                  <a:pt x="966788" y="299663"/>
                  <a:pt x="973265" y="294520"/>
                  <a:pt x="977551" y="288900"/>
                </a:cubicBezTo>
                <a:cubicBezTo>
                  <a:pt x="979646" y="288996"/>
                  <a:pt x="981932" y="289091"/>
                  <a:pt x="984123" y="289186"/>
                </a:cubicBezTo>
                <a:close/>
                <a:moveTo>
                  <a:pt x="1755648" y="1097859"/>
                </a:moveTo>
                <a:cubicBezTo>
                  <a:pt x="1750028" y="1101383"/>
                  <a:pt x="1744790" y="1107003"/>
                  <a:pt x="1738884" y="1107955"/>
                </a:cubicBezTo>
                <a:cubicBezTo>
                  <a:pt x="1729454" y="1109289"/>
                  <a:pt x="1724025" y="1102812"/>
                  <a:pt x="1724406" y="1093191"/>
                </a:cubicBezTo>
                <a:cubicBezTo>
                  <a:pt x="1724787" y="1083476"/>
                  <a:pt x="1731074" y="1077666"/>
                  <a:pt x="1740122" y="1079761"/>
                </a:cubicBezTo>
                <a:cubicBezTo>
                  <a:pt x="1745932" y="1081095"/>
                  <a:pt x="1750695" y="1087286"/>
                  <a:pt x="1755934" y="1091286"/>
                </a:cubicBezTo>
                <a:cubicBezTo>
                  <a:pt x="1755839" y="1093477"/>
                  <a:pt x="1755743" y="1095668"/>
                  <a:pt x="1755648" y="1097859"/>
                </a:cubicBezTo>
                <a:close/>
                <a:moveTo>
                  <a:pt x="1415415" y="610750"/>
                </a:moveTo>
                <a:cubicBezTo>
                  <a:pt x="1419130" y="616179"/>
                  <a:pt x="1425035" y="621228"/>
                  <a:pt x="1426083" y="627133"/>
                </a:cubicBezTo>
                <a:cubicBezTo>
                  <a:pt x="1427798" y="636372"/>
                  <a:pt x="1421606" y="642183"/>
                  <a:pt x="1411891" y="642183"/>
                </a:cubicBezTo>
                <a:cubicBezTo>
                  <a:pt x="1402175" y="642183"/>
                  <a:pt x="1396079" y="636277"/>
                  <a:pt x="1397889" y="627038"/>
                </a:cubicBezTo>
                <a:cubicBezTo>
                  <a:pt x="1399032" y="621132"/>
                  <a:pt x="1404938" y="616179"/>
                  <a:pt x="1408748" y="610750"/>
                </a:cubicBezTo>
                <a:cubicBezTo>
                  <a:pt x="1411034" y="610655"/>
                  <a:pt x="1413224" y="610750"/>
                  <a:pt x="1415415" y="610750"/>
                </a:cubicBezTo>
                <a:close/>
                <a:moveTo>
                  <a:pt x="120777" y="90304"/>
                </a:moveTo>
                <a:cubicBezTo>
                  <a:pt x="117158" y="84779"/>
                  <a:pt x="111347" y="79636"/>
                  <a:pt x="110395" y="73730"/>
                </a:cubicBezTo>
                <a:cubicBezTo>
                  <a:pt x="108871" y="64396"/>
                  <a:pt x="115253" y="58776"/>
                  <a:pt x="124873" y="58967"/>
                </a:cubicBezTo>
                <a:cubicBezTo>
                  <a:pt x="134588" y="59157"/>
                  <a:pt x="140494" y="65253"/>
                  <a:pt x="138589" y="74397"/>
                </a:cubicBezTo>
                <a:cubicBezTo>
                  <a:pt x="137351" y="80303"/>
                  <a:pt x="131255" y="85161"/>
                  <a:pt x="127349" y="90495"/>
                </a:cubicBezTo>
                <a:cubicBezTo>
                  <a:pt x="125159" y="90399"/>
                  <a:pt x="122968" y="90304"/>
                  <a:pt x="120777" y="90304"/>
                </a:cubicBezTo>
                <a:close/>
                <a:moveTo>
                  <a:pt x="693325" y="176124"/>
                </a:moveTo>
                <a:cubicBezTo>
                  <a:pt x="687515" y="180125"/>
                  <a:pt x="682181" y="186411"/>
                  <a:pt x="675894" y="187459"/>
                </a:cubicBezTo>
                <a:cubicBezTo>
                  <a:pt x="666750" y="189078"/>
                  <a:pt x="660940" y="182506"/>
                  <a:pt x="660845" y="172981"/>
                </a:cubicBezTo>
                <a:cubicBezTo>
                  <a:pt x="660749" y="163456"/>
                  <a:pt x="666560" y="156788"/>
                  <a:pt x="675704" y="158312"/>
                </a:cubicBezTo>
                <a:cubicBezTo>
                  <a:pt x="681990" y="159360"/>
                  <a:pt x="687515" y="165552"/>
                  <a:pt x="693325" y="169457"/>
                </a:cubicBezTo>
                <a:cubicBezTo>
                  <a:pt x="693325" y="171647"/>
                  <a:pt x="693325" y="173934"/>
                  <a:pt x="693325" y="176124"/>
                </a:cubicBezTo>
                <a:close/>
                <a:moveTo>
                  <a:pt x="772097" y="189745"/>
                </a:moveTo>
                <a:cubicBezTo>
                  <a:pt x="766763" y="193650"/>
                  <a:pt x="761143" y="200889"/>
                  <a:pt x="756190" y="200413"/>
                </a:cubicBezTo>
                <a:cubicBezTo>
                  <a:pt x="750856" y="199937"/>
                  <a:pt x="746284" y="192221"/>
                  <a:pt x="741331" y="187650"/>
                </a:cubicBezTo>
                <a:cubicBezTo>
                  <a:pt x="745903" y="182696"/>
                  <a:pt x="749903" y="174600"/>
                  <a:pt x="755142" y="173743"/>
                </a:cubicBezTo>
                <a:cubicBezTo>
                  <a:pt x="760095" y="172886"/>
                  <a:pt x="766286" y="179744"/>
                  <a:pt x="771906" y="183173"/>
                </a:cubicBezTo>
                <a:cubicBezTo>
                  <a:pt x="771906" y="185363"/>
                  <a:pt x="772001" y="187554"/>
                  <a:pt x="772097" y="189745"/>
                </a:cubicBezTo>
                <a:close/>
                <a:moveTo>
                  <a:pt x="1871567" y="1361796"/>
                </a:moveTo>
                <a:cubicBezTo>
                  <a:pt x="1865948" y="1365225"/>
                  <a:pt x="1860042" y="1371702"/>
                  <a:pt x="1854708" y="1371226"/>
                </a:cubicBezTo>
                <a:cubicBezTo>
                  <a:pt x="1849946" y="1370845"/>
                  <a:pt x="1841659" y="1362177"/>
                  <a:pt x="1842326" y="1358463"/>
                </a:cubicBezTo>
                <a:cubicBezTo>
                  <a:pt x="1843278" y="1353033"/>
                  <a:pt x="1850422" y="1345509"/>
                  <a:pt x="1855661" y="1344937"/>
                </a:cubicBezTo>
                <a:cubicBezTo>
                  <a:pt x="1860518" y="1344366"/>
                  <a:pt x="1866424" y="1351605"/>
                  <a:pt x="1871758" y="1355319"/>
                </a:cubicBezTo>
                <a:cubicBezTo>
                  <a:pt x="1871663" y="1357510"/>
                  <a:pt x="1871567" y="1359701"/>
                  <a:pt x="1871567" y="1361796"/>
                </a:cubicBezTo>
                <a:close/>
                <a:moveTo>
                  <a:pt x="1907096" y="1551153"/>
                </a:moveTo>
                <a:cubicBezTo>
                  <a:pt x="1900428" y="1542105"/>
                  <a:pt x="1893380" y="1536675"/>
                  <a:pt x="1893761" y="1532008"/>
                </a:cubicBezTo>
                <a:cubicBezTo>
                  <a:pt x="1894237" y="1526960"/>
                  <a:pt x="1901762" y="1522578"/>
                  <a:pt x="1906143" y="1517911"/>
                </a:cubicBezTo>
                <a:cubicBezTo>
                  <a:pt x="1910810" y="1522293"/>
                  <a:pt x="1918526" y="1526293"/>
                  <a:pt x="1919288" y="1531341"/>
                </a:cubicBezTo>
                <a:cubicBezTo>
                  <a:pt x="1919954" y="1535913"/>
                  <a:pt x="1913287" y="1541723"/>
                  <a:pt x="1907096" y="1551153"/>
                </a:cubicBezTo>
                <a:close/>
                <a:moveTo>
                  <a:pt x="64580" y="59348"/>
                </a:moveTo>
                <a:cubicBezTo>
                  <a:pt x="55531" y="65729"/>
                  <a:pt x="49530" y="73064"/>
                  <a:pt x="45244" y="72111"/>
                </a:cubicBezTo>
                <a:cubicBezTo>
                  <a:pt x="39719" y="70968"/>
                  <a:pt x="35624" y="63253"/>
                  <a:pt x="30956" y="58300"/>
                </a:cubicBezTo>
                <a:cubicBezTo>
                  <a:pt x="35719" y="53919"/>
                  <a:pt x="40291" y="46489"/>
                  <a:pt x="45339" y="46108"/>
                </a:cubicBezTo>
                <a:cubicBezTo>
                  <a:pt x="50292" y="45822"/>
                  <a:pt x="55721" y="52871"/>
                  <a:pt x="64580" y="59348"/>
                </a:cubicBezTo>
                <a:close/>
                <a:moveTo>
                  <a:pt x="1224153" y="429680"/>
                </a:moveTo>
                <a:cubicBezTo>
                  <a:pt x="1214914" y="435680"/>
                  <a:pt x="1208627" y="442729"/>
                  <a:pt x="1204436" y="441681"/>
                </a:cubicBezTo>
                <a:cubicBezTo>
                  <a:pt x="1199007" y="440253"/>
                  <a:pt x="1195197" y="432442"/>
                  <a:pt x="1190720" y="427298"/>
                </a:cubicBezTo>
                <a:cubicBezTo>
                  <a:pt x="1195673" y="423108"/>
                  <a:pt x="1200531" y="415869"/>
                  <a:pt x="1205579" y="415678"/>
                </a:cubicBezTo>
                <a:cubicBezTo>
                  <a:pt x="1210437" y="415583"/>
                  <a:pt x="1215581" y="422822"/>
                  <a:pt x="1224153" y="429680"/>
                </a:cubicBezTo>
                <a:close/>
                <a:moveTo>
                  <a:pt x="1074706" y="323952"/>
                </a:moveTo>
                <a:cubicBezTo>
                  <a:pt x="1069467" y="327286"/>
                  <a:pt x="1063562" y="333858"/>
                  <a:pt x="1058990" y="333096"/>
                </a:cubicBezTo>
                <a:cubicBezTo>
                  <a:pt x="1054132" y="332239"/>
                  <a:pt x="1047845" y="324810"/>
                  <a:pt x="1047179" y="319571"/>
                </a:cubicBezTo>
                <a:cubicBezTo>
                  <a:pt x="1046702" y="316142"/>
                  <a:pt x="1055084" y="308331"/>
                  <a:pt x="1059561" y="308236"/>
                </a:cubicBezTo>
                <a:cubicBezTo>
                  <a:pt x="1064609" y="308141"/>
                  <a:pt x="1069753" y="314522"/>
                  <a:pt x="1074896" y="318142"/>
                </a:cubicBezTo>
                <a:cubicBezTo>
                  <a:pt x="1074801" y="320142"/>
                  <a:pt x="1074801" y="322047"/>
                  <a:pt x="1074706" y="323952"/>
                </a:cubicBezTo>
                <a:close/>
                <a:moveTo>
                  <a:pt x="835533" y="216510"/>
                </a:moveTo>
                <a:cubicBezTo>
                  <a:pt x="829342" y="208509"/>
                  <a:pt x="822770" y="203652"/>
                  <a:pt x="823055" y="199175"/>
                </a:cubicBezTo>
                <a:cubicBezTo>
                  <a:pt x="823341" y="194508"/>
                  <a:pt x="830104" y="190126"/>
                  <a:pt x="834009" y="185649"/>
                </a:cubicBezTo>
                <a:cubicBezTo>
                  <a:pt x="838676" y="189936"/>
                  <a:pt x="845820" y="193555"/>
                  <a:pt x="847058" y="198603"/>
                </a:cubicBezTo>
                <a:cubicBezTo>
                  <a:pt x="847916" y="202509"/>
                  <a:pt x="841248" y="208128"/>
                  <a:pt x="835533" y="216510"/>
                </a:cubicBezTo>
                <a:close/>
                <a:moveTo>
                  <a:pt x="1806512" y="1172249"/>
                </a:moveTo>
                <a:cubicBezTo>
                  <a:pt x="1810131" y="1177297"/>
                  <a:pt x="1817084" y="1182726"/>
                  <a:pt x="1816608" y="1187298"/>
                </a:cubicBezTo>
                <a:cubicBezTo>
                  <a:pt x="1816037" y="1192251"/>
                  <a:pt x="1808988" y="1199014"/>
                  <a:pt x="1803845" y="1199967"/>
                </a:cubicBezTo>
                <a:cubicBezTo>
                  <a:pt x="1800320" y="1200633"/>
                  <a:pt x="1792129" y="1192823"/>
                  <a:pt x="1791748" y="1188441"/>
                </a:cubicBezTo>
                <a:cubicBezTo>
                  <a:pt x="1791367" y="1183393"/>
                  <a:pt x="1797368" y="1177869"/>
                  <a:pt x="1800606" y="1172535"/>
                </a:cubicBezTo>
                <a:cubicBezTo>
                  <a:pt x="1802606" y="1172344"/>
                  <a:pt x="1804607" y="1172249"/>
                  <a:pt x="1806512" y="1172249"/>
                </a:cubicBezTo>
                <a:close/>
                <a:moveTo>
                  <a:pt x="1343882" y="549123"/>
                </a:moveTo>
                <a:cubicBezTo>
                  <a:pt x="1340358" y="543980"/>
                  <a:pt x="1333595" y="538360"/>
                  <a:pt x="1334262" y="533788"/>
                </a:cubicBezTo>
                <a:cubicBezTo>
                  <a:pt x="1334929" y="528835"/>
                  <a:pt x="1342168" y="522358"/>
                  <a:pt x="1347311" y="521501"/>
                </a:cubicBezTo>
                <a:cubicBezTo>
                  <a:pt x="1350740" y="520929"/>
                  <a:pt x="1358837" y="528930"/>
                  <a:pt x="1359027" y="533407"/>
                </a:cubicBezTo>
                <a:cubicBezTo>
                  <a:pt x="1359313" y="538455"/>
                  <a:pt x="1353122" y="543885"/>
                  <a:pt x="1349693" y="549123"/>
                </a:cubicBezTo>
                <a:cubicBezTo>
                  <a:pt x="1347788" y="549123"/>
                  <a:pt x="1345882" y="549123"/>
                  <a:pt x="1343882" y="549123"/>
                </a:cubicBezTo>
                <a:close/>
                <a:moveTo>
                  <a:pt x="914210" y="196889"/>
                </a:moveTo>
                <a:cubicBezTo>
                  <a:pt x="919544" y="204223"/>
                  <a:pt x="925163" y="208509"/>
                  <a:pt x="924877" y="212319"/>
                </a:cubicBezTo>
                <a:cubicBezTo>
                  <a:pt x="924497" y="216320"/>
                  <a:pt x="918496" y="219844"/>
                  <a:pt x="914972" y="223654"/>
                </a:cubicBezTo>
                <a:cubicBezTo>
                  <a:pt x="911257" y="220130"/>
                  <a:pt x="904970" y="216987"/>
                  <a:pt x="904399" y="212986"/>
                </a:cubicBezTo>
                <a:cubicBezTo>
                  <a:pt x="903827" y="209176"/>
                  <a:pt x="909257" y="204509"/>
                  <a:pt x="914210" y="196889"/>
                </a:cubicBezTo>
                <a:close/>
                <a:moveTo>
                  <a:pt x="1704785" y="920503"/>
                </a:moveTo>
                <a:cubicBezTo>
                  <a:pt x="1696307" y="926028"/>
                  <a:pt x="1691354" y="931743"/>
                  <a:pt x="1687449" y="931076"/>
                </a:cubicBezTo>
                <a:cubicBezTo>
                  <a:pt x="1683258" y="930409"/>
                  <a:pt x="1677829" y="924122"/>
                  <a:pt x="1677067" y="919551"/>
                </a:cubicBezTo>
                <a:cubicBezTo>
                  <a:pt x="1676591" y="916693"/>
                  <a:pt x="1683639" y="909835"/>
                  <a:pt x="1687449" y="909740"/>
                </a:cubicBezTo>
                <a:cubicBezTo>
                  <a:pt x="1691831" y="909645"/>
                  <a:pt x="1696403" y="914979"/>
                  <a:pt x="1704785" y="920503"/>
                </a:cubicBezTo>
                <a:close/>
                <a:moveTo>
                  <a:pt x="1280827" y="458731"/>
                </a:moveTo>
                <a:cubicBezTo>
                  <a:pt x="1275874" y="451111"/>
                  <a:pt x="1270540" y="446444"/>
                  <a:pt x="1271111" y="442634"/>
                </a:cubicBezTo>
                <a:cubicBezTo>
                  <a:pt x="1271683" y="438633"/>
                  <a:pt x="1277874" y="435490"/>
                  <a:pt x="1281684" y="431966"/>
                </a:cubicBezTo>
                <a:cubicBezTo>
                  <a:pt x="1285208" y="435680"/>
                  <a:pt x="1291209" y="439300"/>
                  <a:pt x="1291590" y="443301"/>
                </a:cubicBezTo>
                <a:cubicBezTo>
                  <a:pt x="1291781" y="447111"/>
                  <a:pt x="1286161" y="451397"/>
                  <a:pt x="1280827" y="458731"/>
                </a:cubicBezTo>
                <a:close/>
                <a:moveTo>
                  <a:pt x="1574006" y="735337"/>
                </a:moveTo>
                <a:cubicBezTo>
                  <a:pt x="1565720" y="741052"/>
                  <a:pt x="1560862" y="746862"/>
                  <a:pt x="1556957" y="746291"/>
                </a:cubicBezTo>
                <a:cubicBezTo>
                  <a:pt x="1552766" y="745719"/>
                  <a:pt x="1547146" y="739528"/>
                  <a:pt x="1546289" y="735051"/>
                </a:cubicBezTo>
                <a:cubicBezTo>
                  <a:pt x="1545717" y="732194"/>
                  <a:pt x="1552575" y="725145"/>
                  <a:pt x="1556385" y="724955"/>
                </a:cubicBezTo>
                <a:cubicBezTo>
                  <a:pt x="1560767" y="724764"/>
                  <a:pt x="1565434" y="730003"/>
                  <a:pt x="1574006" y="735337"/>
                </a:cubicBezTo>
                <a:close/>
                <a:moveTo>
                  <a:pt x="1621536" y="812585"/>
                </a:moveTo>
                <a:cubicBezTo>
                  <a:pt x="1627442" y="820205"/>
                  <a:pt x="1633823" y="824967"/>
                  <a:pt x="1633157" y="828492"/>
                </a:cubicBezTo>
                <a:cubicBezTo>
                  <a:pt x="1632299" y="833254"/>
                  <a:pt x="1626013" y="836969"/>
                  <a:pt x="1622107" y="841160"/>
                </a:cubicBezTo>
                <a:cubicBezTo>
                  <a:pt x="1618298" y="837350"/>
                  <a:pt x="1611916" y="833826"/>
                  <a:pt x="1611440" y="829635"/>
                </a:cubicBezTo>
                <a:cubicBezTo>
                  <a:pt x="1610868" y="825539"/>
                  <a:pt x="1616393" y="820681"/>
                  <a:pt x="1621536" y="812585"/>
                </a:cubicBezTo>
                <a:close/>
                <a:moveTo>
                  <a:pt x="453676" y="64777"/>
                </a:moveTo>
                <a:cubicBezTo>
                  <a:pt x="449294" y="58205"/>
                  <a:pt x="444056" y="53633"/>
                  <a:pt x="444818" y="50775"/>
                </a:cubicBezTo>
                <a:cubicBezTo>
                  <a:pt x="445961" y="46775"/>
                  <a:pt x="451580" y="43917"/>
                  <a:pt x="455200" y="40679"/>
                </a:cubicBezTo>
                <a:cubicBezTo>
                  <a:pt x="458153" y="44203"/>
                  <a:pt x="463391" y="47727"/>
                  <a:pt x="463487" y="51442"/>
                </a:cubicBezTo>
                <a:cubicBezTo>
                  <a:pt x="463677" y="54871"/>
                  <a:pt x="458534" y="58586"/>
                  <a:pt x="453676" y="64777"/>
                </a:cubicBezTo>
                <a:close/>
                <a:moveTo>
                  <a:pt x="1490663" y="657327"/>
                </a:moveTo>
                <a:cubicBezTo>
                  <a:pt x="1486091" y="649517"/>
                  <a:pt x="1480947" y="644659"/>
                  <a:pt x="1481709" y="641039"/>
                </a:cubicBezTo>
                <a:cubicBezTo>
                  <a:pt x="1482566" y="637229"/>
                  <a:pt x="1488662" y="632658"/>
                  <a:pt x="1492949" y="632181"/>
                </a:cubicBezTo>
                <a:cubicBezTo>
                  <a:pt x="1495616" y="631896"/>
                  <a:pt x="1501616" y="638754"/>
                  <a:pt x="1501426" y="642183"/>
                </a:cubicBezTo>
                <a:cubicBezTo>
                  <a:pt x="1501331" y="646278"/>
                  <a:pt x="1496187" y="650088"/>
                  <a:pt x="1490663" y="657327"/>
                </a:cubicBezTo>
                <a:close/>
                <a:moveTo>
                  <a:pt x="1936242" y="1451046"/>
                </a:moveTo>
                <a:cubicBezTo>
                  <a:pt x="1929003" y="1456475"/>
                  <a:pt x="1924717" y="1462095"/>
                  <a:pt x="1921097" y="1461714"/>
                </a:cubicBezTo>
                <a:cubicBezTo>
                  <a:pt x="1917192" y="1461333"/>
                  <a:pt x="1911858" y="1455713"/>
                  <a:pt x="1910906" y="1451617"/>
                </a:cubicBezTo>
                <a:cubicBezTo>
                  <a:pt x="1910334" y="1448950"/>
                  <a:pt x="1916430" y="1442187"/>
                  <a:pt x="1919859" y="1441997"/>
                </a:cubicBezTo>
                <a:cubicBezTo>
                  <a:pt x="1923955" y="1441711"/>
                  <a:pt x="1928432" y="1446473"/>
                  <a:pt x="1936242" y="1451046"/>
                </a:cubicBezTo>
                <a:close/>
                <a:moveTo>
                  <a:pt x="1154621" y="335382"/>
                </a:moveTo>
                <a:cubicBezTo>
                  <a:pt x="1146905" y="340240"/>
                  <a:pt x="1142238" y="345479"/>
                  <a:pt x="1138619" y="344812"/>
                </a:cubicBezTo>
                <a:cubicBezTo>
                  <a:pt x="1134713" y="344050"/>
                  <a:pt x="1129951" y="338049"/>
                  <a:pt x="1129284" y="333858"/>
                </a:cubicBezTo>
                <a:cubicBezTo>
                  <a:pt x="1128903" y="331287"/>
                  <a:pt x="1135571" y="325000"/>
                  <a:pt x="1139095" y="325095"/>
                </a:cubicBezTo>
                <a:cubicBezTo>
                  <a:pt x="1143191" y="325095"/>
                  <a:pt x="1147286" y="330144"/>
                  <a:pt x="1154621" y="335382"/>
                </a:cubicBezTo>
                <a:close/>
                <a:moveTo>
                  <a:pt x="1854137" y="1282263"/>
                </a:moveTo>
                <a:cubicBezTo>
                  <a:pt x="1861376" y="1276833"/>
                  <a:pt x="1865186" y="1271690"/>
                  <a:pt x="1869377" y="1271499"/>
                </a:cubicBezTo>
                <a:cubicBezTo>
                  <a:pt x="1872806" y="1271309"/>
                  <a:pt x="1879664" y="1277310"/>
                  <a:pt x="1879378" y="1279977"/>
                </a:cubicBezTo>
                <a:cubicBezTo>
                  <a:pt x="1878902" y="1284263"/>
                  <a:pt x="1874330" y="1290454"/>
                  <a:pt x="1870520" y="1291216"/>
                </a:cubicBezTo>
                <a:cubicBezTo>
                  <a:pt x="1866900" y="1291978"/>
                  <a:pt x="1861947" y="1286835"/>
                  <a:pt x="1854137" y="1282263"/>
                </a:cubicBezTo>
                <a:close/>
                <a:moveTo>
                  <a:pt x="1768507" y="1013943"/>
                </a:moveTo>
                <a:cubicBezTo>
                  <a:pt x="1761077" y="1019087"/>
                  <a:pt x="1756601" y="1024516"/>
                  <a:pt x="1752981" y="1024040"/>
                </a:cubicBezTo>
                <a:cubicBezTo>
                  <a:pt x="1749076" y="1023468"/>
                  <a:pt x="1744028" y="1017753"/>
                  <a:pt x="1743170" y="1013562"/>
                </a:cubicBezTo>
                <a:cubicBezTo>
                  <a:pt x="1742694" y="1010991"/>
                  <a:pt x="1749076" y="1004418"/>
                  <a:pt x="1752505" y="1004323"/>
                </a:cubicBezTo>
                <a:cubicBezTo>
                  <a:pt x="1756696" y="1004228"/>
                  <a:pt x="1760982" y="1008990"/>
                  <a:pt x="1768507" y="1013943"/>
                </a:cubicBezTo>
                <a:close/>
                <a:moveTo>
                  <a:pt x="388715" y="37440"/>
                </a:moveTo>
                <a:cubicBezTo>
                  <a:pt x="382048" y="41631"/>
                  <a:pt x="377285" y="46775"/>
                  <a:pt x="374523" y="45822"/>
                </a:cubicBezTo>
                <a:cubicBezTo>
                  <a:pt x="370523" y="44584"/>
                  <a:pt x="367951" y="38869"/>
                  <a:pt x="364808" y="35059"/>
                </a:cubicBezTo>
                <a:cubicBezTo>
                  <a:pt x="368427" y="32202"/>
                  <a:pt x="372047" y="27058"/>
                  <a:pt x="375761" y="27058"/>
                </a:cubicBezTo>
                <a:cubicBezTo>
                  <a:pt x="379095" y="27058"/>
                  <a:pt x="382619" y="32392"/>
                  <a:pt x="388715" y="37440"/>
                </a:cubicBezTo>
                <a:close/>
                <a:moveTo>
                  <a:pt x="227933" y="7151"/>
                </a:moveTo>
                <a:cubicBezTo>
                  <a:pt x="222123" y="11628"/>
                  <a:pt x="218789" y="16295"/>
                  <a:pt x="215741" y="16009"/>
                </a:cubicBezTo>
                <a:cubicBezTo>
                  <a:pt x="212598" y="15723"/>
                  <a:pt x="208312" y="11246"/>
                  <a:pt x="207455" y="7818"/>
                </a:cubicBezTo>
                <a:cubicBezTo>
                  <a:pt x="206883" y="5817"/>
                  <a:pt x="211836" y="197"/>
                  <a:pt x="214503" y="7"/>
                </a:cubicBezTo>
                <a:cubicBezTo>
                  <a:pt x="217932" y="-183"/>
                  <a:pt x="221552" y="3531"/>
                  <a:pt x="227933" y="7151"/>
                </a:cubicBezTo>
                <a:close/>
                <a:moveTo>
                  <a:pt x="547307" y="65825"/>
                </a:moveTo>
                <a:cubicBezTo>
                  <a:pt x="540639" y="69730"/>
                  <a:pt x="536543" y="73826"/>
                  <a:pt x="532924" y="73540"/>
                </a:cubicBezTo>
                <a:cubicBezTo>
                  <a:pt x="529876" y="73254"/>
                  <a:pt x="524447" y="66872"/>
                  <a:pt x="525113" y="64872"/>
                </a:cubicBezTo>
                <a:cubicBezTo>
                  <a:pt x="526352" y="61158"/>
                  <a:pt x="531019" y="56871"/>
                  <a:pt x="534829" y="56204"/>
                </a:cubicBezTo>
                <a:cubicBezTo>
                  <a:pt x="537496" y="55728"/>
                  <a:pt x="541115" y="60872"/>
                  <a:pt x="547307" y="65825"/>
                </a:cubicBezTo>
                <a:close/>
                <a:moveTo>
                  <a:pt x="1438751" y="547695"/>
                </a:moveTo>
                <a:cubicBezTo>
                  <a:pt x="1432751" y="551981"/>
                  <a:pt x="1429512" y="555981"/>
                  <a:pt x="1426083" y="556077"/>
                </a:cubicBezTo>
                <a:cubicBezTo>
                  <a:pt x="1423321" y="556172"/>
                  <a:pt x="1417892" y="551028"/>
                  <a:pt x="1418177" y="549123"/>
                </a:cubicBezTo>
                <a:cubicBezTo>
                  <a:pt x="1418844" y="545599"/>
                  <a:pt x="1422559" y="540646"/>
                  <a:pt x="1425702" y="540075"/>
                </a:cubicBezTo>
                <a:cubicBezTo>
                  <a:pt x="1428655" y="539503"/>
                  <a:pt x="1432560" y="543789"/>
                  <a:pt x="1438751" y="547695"/>
                </a:cubicBezTo>
                <a:close/>
                <a:moveTo>
                  <a:pt x="994886" y="238418"/>
                </a:moveTo>
                <a:cubicBezTo>
                  <a:pt x="990791" y="233465"/>
                  <a:pt x="986028" y="230036"/>
                  <a:pt x="986504" y="227750"/>
                </a:cubicBezTo>
                <a:cubicBezTo>
                  <a:pt x="987266" y="224226"/>
                  <a:pt x="991648" y="221559"/>
                  <a:pt x="994505" y="218606"/>
                </a:cubicBezTo>
                <a:cubicBezTo>
                  <a:pt x="997172" y="221368"/>
                  <a:pt x="1001649" y="223940"/>
                  <a:pt x="1002030" y="226893"/>
                </a:cubicBezTo>
                <a:cubicBezTo>
                  <a:pt x="1002316" y="229845"/>
                  <a:pt x="998315" y="233179"/>
                  <a:pt x="994886" y="238418"/>
                </a:cubicBezTo>
                <a:close/>
                <a:moveTo>
                  <a:pt x="612934" y="66301"/>
                </a:moveTo>
                <a:cubicBezTo>
                  <a:pt x="617315" y="72206"/>
                  <a:pt x="621887" y="75731"/>
                  <a:pt x="621602" y="78779"/>
                </a:cubicBezTo>
                <a:cubicBezTo>
                  <a:pt x="621316" y="82017"/>
                  <a:pt x="616458" y="87256"/>
                  <a:pt x="613505" y="87351"/>
                </a:cubicBezTo>
                <a:cubicBezTo>
                  <a:pt x="610552" y="87446"/>
                  <a:pt x="605409" y="82589"/>
                  <a:pt x="604933" y="79255"/>
                </a:cubicBezTo>
                <a:cubicBezTo>
                  <a:pt x="604647" y="76207"/>
                  <a:pt x="608933" y="72492"/>
                  <a:pt x="612934" y="66301"/>
                </a:cubicBezTo>
                <a:close/>
                <a:moveTo>
                  <a:pt x="1830991" y="1107384"/>
                </a:moveTo>
                <a:cubicBezTo>
                  <a:pt x="1825085" y="1111765"/>
                  <a:pt x="1821561" y="1116337"/>
                  <a:pt x="1818608" y="1116051"/>
                </a:cubicBezTo>
                <a:cubicBezTo>
                  <a:pt x="1815465" y="1115670"/>
                  <a:pt x="1811274" y="1111098"/>
                  <a:pt x="1810417" y="1107669"/>
                </a:cubicBezTo>
                <a:cubicBezTo>
                  <a:pt x="1809941" y="1105669"/>
                  <a:pt x="1814989" y="1100145"/>
                  <a:pt x="1817656" y="1100049"/>
                </a:cubicBezTo>
                <a:cubicBezTo>
                  <a:pt x="1821085" y="1099859"/>
                  <a:pt x="1824609" y="1103573"/>
                  <a:pt x="1830991" y="1107384"/>
                </a:cubicBezTo>
                <a:close/>
                <a:moveTo>
                  <a:pt x="701612" y="93828"/>
                </a:moveTo>
                <a:cubicBezTo>
                  <a:pt x="696373" y="97353"/>
                  <a:pt x="692468" y="101734"/>
                  <a:pt x="690277" y="101067"/>
                </a:cubicBezTo>
                <a:cubicBezTo>
                  <a:pt x="686848" y="100020"/>
                  <a:pt x="684562" y="95352"/>
                  <a:pt x="681800" y="92304"/>
                </a:cubicBezTo>
                <a:cubicBezTo>
                  <a:pt x="684752" y="89923"/>
                  <a:pt x="687705" y="85637"/>
                  <a:pt x="690753" y="85542"/>
                </a:cubicBezTo>
                <a:cubicBezTo>
                  <a:pt x="693706" y="85446"/>
                  <a:pt x="696659" y="89828"/>
                  <a:pt x="701612" y="93828"/>
                </a:cubicBezTo>
                <a:close/>
                <a:moveTo>
                  <a:pt x="308610" y="22200"/>
                </a:moveTo>
                <a:cubicBezTo>
                  <a:pt x="302133" y="26582"/>
                  <a:pt x="298514" y="30963"/>
                  <a:pt x="294799" y="30963"/>
                </a:cubicBezTo>
                <a:cubicBezTo>
                  <a:pt x="291751" y="30963"/>
                  <a:pt x="288703" y="25725"/>
                  <a:pt x="285750" y="22772"/>
                </a:cubicBezTo>
                <a:cubicBezTo>
                  <a:pt x="288893" y="19533"/>
                  <a:pt x="291656" y="14485"/>
                  <a:pt x="295370" y="13533"/>
                </a:cubicBezTo>
                <a:cubicBezTo>
                  <a:pt x="298037" y="12866"/>
                  <a:pt x="302038" y="17628"/>
                  <a:pt x="308610" y="2220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  <a:alpha val="55000"/>
            </a:schemeClr>
          </a:solidFill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7" name="Скругленный прямоугольник 11">
            <a:extLst>
              <a:ext uri="{FF2B5EF4-FFF2-40B4-BE49-F238E27FC236}">
                <a16:creationId xmlns:a16="http://schemas.microsoft.com/office/drawing/2014/main" id="{6CE7D811-2AA2-FDD1-E2EA-51ACF73E9671}"/>
              </a:ext>
            </a:extLst>
          </p:cNvPr>
          <p:cNvSpPr/>
          <p:nvPr/>
        </p:nvSpPr>
        <p:spPr bwMode="auto">
          <a:xfrm>
            <a:off x="1349830" y="413121"/>
            <a:ext cx="10629888" cy="385932"/>
          </a:xfrm>
          <a:prstGeom prst="roundRect">
            <a:avLst>
              <a:gd name="adj" fmla="val 0"/>
            </a:avLst>
          </a:prstGeom>
          <a:solidFill>
            <a:srgbClr val="203764"/>
          </a:solidFill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38080" tIns="38080" rIns="38080" bIns="3808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457086" marR="0" lvl="0" indent="0" algn="r" defTabSz="1218865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SA" sz="1600" b="0" i="0" u="none" strike="noStrike" kern="0" cap="none" spc="-1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9" name="Скругленный прямоугольник 11">
            <a:extLst>
              <a:ext uri="{FF2B5EF4-FFF2-40B4-BE49-F238E27FC236}">
                <a16:creationId xmlns:a16="http://schemas.microsoft.com/office/drawing/2014/main" id="{4D23E226-E6C7-2643-16EA-E3398973E3E2}"/>
              </a:ext>
            </a:extLst>
          </p:cNvPr>
          <p:cNvSpPr/>
          <p:nvPr/>
        </p:nvSpPr>
        <p:spPr bwMode="auto">
          <a:xfrm>
            <a:off x="1142318" y="407503"/>
            <a:ext cx="152360" cy="385932"/>
          </a:xfrm>
          <a:prstGeom prst="roundRect">
            <a:avLst>
              <a:gd name="adj" fmla="val 5329"/>
            </a:avLst>
          </a:prstGeom>
          <a:solidFill>
            <a:srgbClr val="203764"/>
          </a:solidFill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38080" tIns="38080" rIns="38080" bIns="3808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 Next LT Arabic" panose="020B0503020203050203" pitchFamily="34" charset="-78"/>
              <a:ea typeface="+mn-ea"/>
              <a:cs typeface="DIN Next LT Arabic" panose="020B0503020203050203" pitchFamily="34" charset="-78"/>
              <a:sym typeface="Arial"/>
            </a:endParaRPr>
          </a:p>
        </p:txBody>
      </p:sp>
      <p:sp>
        <p:nvSpPr>
          <p:cNvPr id="10" name="Скругленный прямоугольник 11">
            <a:extLst>
              <a:ext uri="{FF2B5EF4-FFF2-40B4-BE49-F238E27FC236}">
                <a16:creationId xmlns:a16="http://schemas.microsoft.com/office/drawing/2014/main" id="{F8C64589-194B-8415-26E8-93BC17975328}"/>
              </a:ext>
            </a:extLst>
          </p:cNvPr>
          <p:cNvSpPr/>
          <p:nvPr/>
        </p:nvSpPr>
        <p:spPr bwMode="auto">
          <a:xfrm>
            <a:off x="965785" y="406933"/>
            <a:ext cx="152360" cy="385932"/>
          </a:xfrm>
          <a:prstGeom prst="roundRect">
            <a:avLst>
              <a:gd name="adj" fmla="val 5329"/>
            </a:avLst>
          </a:prstGeom>
          <a:solidFill>
            <a:srgbClr val="88A0C4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Arial"/>
              <a:sym typeface="Arial"/>
            </a:endParaRPr>
          </a:p>
        </p:txBody>
      </p:sp>
      <p:sp>
        <p:nvSpPr>
          <p:cNvPr id="11" name="Скругленный прямоугольник 11">
            <a:extLst>
              <a:ext uri="{FF2B5EF4-FFF2-40B4-BE49-F238E27FC236}">
                <a16:creationId xmlns:a16="http://schemas.microsoft.com/office/drawing/2014/main" id="{0DE514A8-9233-74CB-3E3B-387A4C877F9B}"/>
              </a:ext>
            </a:extLst>
          </p:cNvPr>
          <p:cNvSpPr/>
          <p:nvPr/>
        </p:nvSpPr>
        <p:spPr bwMode="auto">
          <a:xfrm>
            <a:off x="789253" y="406933"/>
            <a:ext cx="152360" cy="385932"/>
          </a:xfrm>
          <a:prstGeom prst="roundRect">
            <a:avLst>
              <a:gd name="adj" fmla="val 5329"/>
            </a:avLst>
          </a:prstGeom>
          <a:solidFill>
            <a:srgbClr val="203764"/>
          </a:solidFill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38080" tIns="38080" rIns="38080" bIns="3808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 Next LT Arabic" panose="020B0503020203050203" pitchFamily="34" charset="-78"/>
              <a:ea typeface="+mn-ea"/>
              <a:cs typeface="DIN Next LT Arabic" panose="020B0503020203050203" pitchFamily="34" charset="-78"/>
              <a:sym typeface="Arial"/>
            </a:endParaRP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F7871374-D69E-8788-4E2F-BE07E93DB212}"/>
              </a:ext>
            </a:extLst>
          </p:cNvPr>
          <p:cNvSpPr/>
          <p:nvPr/>
        </p:nvSpPr>
        <p:spPr bwMode="auto">
          <a:xfrm>
            <a:off x="602184" y="404256"/>
            <a:ext cx="152360" cy="385932"/>
          </a:xfrm>
          <a:prstGeom prst="roundRect">
            <a:avLst>
              <a:gd name="adj" fmla="val 5329"/>
            </a:avLst>
          </a:prstGeom>
          <a:solidFill>
            <a:srgbClr val="88A0C4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Arial"/>
              <a:sym typeface="Arial"/>
            </a:endParaRPr>
          </a:p>
        </p:txBody>
      </p:sp>
      <p:sp>
        <p:nvSpPr>
          <p:cNvPr id="340" name="TextBox 339">
            <a:extLst>
              <a:ext uri="{FF2B5EF4-FFF2-40B4-BE49-F238E27FC236}">
                <a16:creationId xmlns:a16="http://schemas.microsoft.com/office/drawing/2014/main" id="{92A8224A-4408-F17E-EEAA-A43114DFE25F}"/>
              </a:ext>
            </a:extLst>
          </p:cNvPr>
          <p:cNvSpPr txBox="1"/>
          <p:nvPr/>
        </p:nvSpPr>
        <p:spPr>
          <a:xfrm>
            <a:off x="1430585" y="521397"/>
            <a:ext cx="237769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00" b="0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mohammad bold art 1" pitchFamily="2" charset="-78"/>
                <a:sym typeface="Helvetica Neue"/>
              </a:rPr>
              <a:t>الرصد الالي: </a:t>
            </a:r>
            <a:r>
              <a:rPr kumimoji="0" lang="ar-SA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mohammad bold art 1" pitchFamily="2" charset="-78"/>
                <a:sym typeface="Helvetica Neue"/>
              </a:rPr>
              <a:t>مكتب إدارة البيانات الوطنية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B15E52D-5737-D799-9FA4-7E5EE91AD136}"/>
              </a:ext>
            </a:extLst>
          </p:cNvPr>
          <p:cNvSpPr/>
          <p:nvPr/>
        </p:nvSpPr>
        <p:spPr>
          <a:xfrm>
            <a:off x="6395211" y="3429000"/>
            <a:ext cx="5040404" cy="2962639"/>
          </a:xfrm>
          <a:prstGeom prst="roundRect">
            <a:avLst>
              <a:gd name="adj" fmla="val 3929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8391A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59" name="Rectangle: Rounded Corners 74">
            <a:extLst>
              <a:ext uri="{FF2B5EF4-FFF2-40B4-BE49-F238E27FC236}">
                <a16:creationId xmlns:a16="http://schemas.microsoft.com/office/drawing/2014/main" id="{54636381-A3E7-77A1-2AB5-4EA1F0D8B070}"/>
              </a:ext>
            </a:extLst>
          </p:cNvPr>
          <p:cNvSpPr/>
          <p:nvPr/>
        </p:nvSpPr>
        <p:spPr>
          <a:xfrm>
            <a:off x="10879440" y="457584"/>
            <a:ext cx="975206" cy="274101"/>
          </a:xfrm>
          <a:prstGeom prst="roundRect">
            <a:avLst>
              <a:gd name="adj" fmla="val 20111"/>
            </a:avLst>
          </a:prstGeom>
          <a:blipFill dpi="0" rotWithShape="1">
            <a:blip r:embed="rId4" cstate="email">
              <a:alphaModFix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IN Next LT Arabic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82" name="Freeform: Shape 102">
            <a:extLst>
              <a:ext uri="{FF2B5EF4-FFF2-40B4-BE49-F238E27FC236}">
                <a16:creationId xmlns:a16="http://schemas.microsoft.com/office/drawing/2014/main" id="{81F5A662-A7F2-8220-7C79-28AC79094B81}"/>
              </a:ext>
            </a:extLst>
          </p:cNvPr>
          <p:cNvSpPr/>
          <p:nvPr/>
        </p:nvSpPr>
        <p:spPr>
          <a:xfrm>
            <a:off x="10233836" y="4239553"/>
            <a:ext cx="884238" cy="18036"/>
          </a:xfrm>
          <a:custGeom>
            <a:avLst/>
            <a:gdLst>
              <a:gd name="connsiteX0" fmla="*/ 51241 w 4768656"/>
              <a:gd name="connsiteY0" fmla="*/ 0 h 135464"/>
              <a:gd name="connsiteX1" fmla="*/ 4768656 w 4768656"/>
              <a:gd name="connsiteY1" fmla="*/ 0 h 135464"/>
              <a:gd name="connsiteX2" fmla="*/ 4768656 w 4768656"/>
              <a:gd name="connsiteY2" fmla="*/ 118988 h 135464"/>
              <a:gd name="connsiteX3" fmla="*/ 4734883 w 4768656"/>
              <a:gd name="connsiteY3" fmla="*/ 129472 h 135464"/>
              <a:gd name="connsiteX4" fmla="*/ 4723843 w 4768656"/>
              <a:gd name="connsiteY4" fmla="*/ 135464 h 135464"/>
              <a:gd name="connsiteX5" fmla="*/ 4722718 w 4768656"/>
              <a:gd name="connsiteY5" fmla="*/ 135379 h 135464"/>
              <a:gd name="connsiteX6" fmla="*/ 2409950 w 4768656"/>
              <a:gd name="connsiteY6" fmla="*/ 69773 h 135464"/>
              <a:gd name="connsiteX7" fmla="*/ 51241 w 4768656"/>
              <a:gd name="connsiteY7" fmla="*/ 0 h 135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68656" h="135464">
                <a:moveTo>
                  <a:pt x="51241" y="0"/>
                </a:moveTo>
                <a:lnTo>
                  <a:pt x="4768656" y="0"/>
                </a:lnTo>
                <a:lnTo>
                  <a:pt x="4768656" y="118988"/>
                </a:lnTo>
                <a:lnTo>
                  <a:pt x="4734883" y="129472"/>
                </a:lnTo>
                <a:lnTo>
                  <a:pt x="4723843" y="135464"/>
                </a:lnTo>
                <a:lnTo>
                  <a:pt x="4722718" y="135379"/>
                </a:lnTo>
                <a:cubicBezTo>
                  <a:pt x="4130829" y="94844"/>
                  <a:pt x="3313142" y="69773"/>
                  <a:pt x="2409950" y="69773"/>
                </a:cubicBezTo>
                <a:cubicBezTo>
                  <a:pt x="1631370" y="47210"/>
                  <a:pt x="-341877" y="11629"/>
                  <a:pt x="5124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dist="63500" dir="5400000" algn="t" rotWithShape="0">
              <a:schemeClr val="accent3">
                <a:alpha val="3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16" rIns="91416" rtlCol="0" anchor="ctr">
            <a:noAutofit/>
          </a:bodyPr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83" name="Rectangle: Rounded Corners 74">
            <a:extLst>
              <a:ext uri="{FF2B5EF4-FFF2-40B4-BE49-F238E27FC236}">
                <a16:creationId xmlns:a16="http://schemas.microsoft.com/office/drawing/2014/main" id="{3AC8A727-0DEF-A482-572B-77E7B78B85F5}"/>
              </a:ext>
            </a:extLst>
          </p:cNvPr>
          <p:cNvSpPr/>
          <p:nvPr/>
        </p:nvSpPr>
        <p:spPr>
          <a:xfrm>
            <a:off x="6706362" y="3983488"/>
            <a:ext cx="4475962" cy="388470"/>
          </a:xfrm>
          <a:prstGeom prst="roundRect">
            <a:avLst>
              <a:gd name="adj" fmla="val 20111"/>
            </a:avLst>
          </a:prstGeom>
          <a:blipFill dpi="0" rotWithShape="1">
            <a:blip r:embed="rId6" cstate="email">
              <a:alphaModFix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IN Next LT Arabic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87" name="Trapezoid 86">
            <a:extLst>
              <a:ext uri="{FF2B5EF4-FFF2-40B4-BE49-F238E27FC236}">
                <a16:creationId xmlns:a16="http://schemas.microsoft.com/office/drawing/2014/main" id="{646F26A1-BD7C-106F-3D32-379F51FB2AA5}"/>
              </a:ext>
            </a:extLst>
          </p:cNvPr>
          <p:cNvSpPr/>
          <p:nvPr/>
        </p:nvSpPr>
        <p:spPr>
          <a:xfrm rot="10800000" flipV="1">
            <a:off x="9047217" y="3896521"/>
            <a:ext cx="2116645" cy="51665"/>
          </a:xfrm>
          <a:prstGeom prst="trapezoid">
            <a:avLst>
              <a:gd name="adj" fmla="val 86605"/>
            </a:avLst>
          </a:prstGeom>
          <a:solidFill>
            <a:srgbClr val="203764"/>
          </a:solidFill>
          <a:ln w="12700">
            <a:noFill/>
          </a:ln>
          <a:effectLst>
            <a:outerShdw blurRad="50800" dist="38100" dir="16200000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88" name="Round Same Side Corner Rectangle 153">
            <a:extLst>
              <a:ext uri="{FF2B5EF4-FFF2-40B4-BE49-F238E27FC236}">
                <a16:creationId xmlns:a16="http://schemas.microsoft.com/office/drawing/2014/main" id="{4F92352A-15AA-DC1D-5267-D8857FFEBD31}"/>
              </a:ext>
            </a:extLst>
          </p:cNvPr>
          <p:cNvSpPr/>
          <p:nvPr/>
        </p:nvSpPr>
        <p:spPr>
          <a:xfrm flipV="1">
            <a:off x="9156368" y="3894289"/>
            <a:ext cx="1905586" cy="17367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203764"/>
          </a:solidFill>
          <a:ln w="12700">
            <a:noFill/>
          </a:ln>
          <a:effectLst>
            <a:outerShdw blurRad="102542" dist="38100" dir="5400000" algn="t" rotWithShape="0">
              <a:prstClr val="black">
                <a:alpha val="2177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D1776035-123D-137B-9192-318E364C761F}"/>
              </a:ext>
            </a:extLst>
          </p:cNvPr>
          <p:cNvSpPr/>
          <p:nvPr/>
        </p:nvSpPr>
        <p:spPr>
          <a:xfrm>
            <a:off x="9391650" y="3883460"/>
            <a:ext cx="152017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7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mohammad bold art 1" pitchFamily="2" charset="-78"/>
                <a:sym typeface="Arial"/>
              </a:rPr>
              <a:t>مطابقة اسم صفحة سياسة الخصوصية</a:t>
            </a:r>
            <a:endParaRPr kumimoji="0" lang="en-US" sz="7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94" name="Freeform: Shape 102">
            <a:extLst>
              <a:ext uri="{FF2B5EF4-FFF2-40B4-BE49-F238E27FC236}">
                <a16:creationId xmlns:a16="http://schemas.microsoft.com/office/drawing/2014/main" id="{721305A5-F5C5-51FE-5D4B-AC32FF941569}"/>
              </a:ext>
            </a:extLst>
          </p:cNvPr>
          <p:cNvSpPr/>
          <p:nvPr/>
        </p:nvSpPr>
        <p:spPr>
          <a:xfrm>
            <a:off x="10244597" y="4828007"/>
            <a:ext cx="884238" cy="18036"/>
          </a:xfrm>
          <a:custGeom>
            <a:avLst/>
            <a:gdLst>
              <a:gd name="connsiteX0" fmla="*/ 51241 w 4768656"/>
              <a:gd name="connsiteY0" fmla="*/ 0 h 135464"/>
              <a:gd name="connsiteX1" fmla="*/ 4768656 w 4768656"/>
              <a:gd name="connsiteY1" fmla="*/ 0 h 135464"/>
              <a:gd name="connsiteX2" fmla="*/ 4768656 w 4768656"/>
              <a:gd name="connsiteY2" fmla="*/ 118988 h 135464"/>
              <a:gd name="connsiteX3" fmla="*/ 4734883 w 4768656"/>
              <a:gd name="connsiteY3" fmla="*/ 129472 h 135464"/>
              <a:gd name="connsiteX4" fmla="*/ 4723843 w 4768656"/>
              <a:gd name="connsiteY4" fmla="*/ 135464 h 135464"/>
              <a:gd name="connsiteX5" fmla="*/ 4722718 w 4768656"/>
              <a:gd name="connsiteY5" fmla="*/ 135379 h 135464"/>
              <a:gd name="connsiteX6" fmla="*/ 2409950 w 4768656"/>
              <a:gd name="connsiteY6" fmla="*/ 69773 h 135464"/>
              <a:gd name="connsiteX7" fmla="*/ 51241 w 4768656"/>
              <a:gd name="connsiteY7" fmla="*/ 0 h 135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68656" h="135464">
                <a:moveTo>
                  <a:pt x="51241" y="0"/>
                </a:moveTo>
                <a:lnTo>
                  <a:pt x="4768656" y="0"/>
                </a:lnTo>
                <a:lnTo>
                  <a:pt x="4768656" y="118988"/>
                </a:lnTo>
                <a:lnTo>
                  <a:pt x="4734883" y="129472"/>
                </a:lnTo>
                <a:lnTo>
                  <a:pt x="4723843" y="135464"/>
                </a:lnTo>
                <a:lnTo>
                  <a:pt x="4722718" y="135379"/>
                </a:lnTo>
                <a:cubicBezTo>
                  <a:pt x="4130829" y="94844"/>
                  <a:pt x="3313142" y="69773"/>
                  <a:pt x="2409950" y="69773"/>
                </a:cubicBezTo>
                <a:cubicBezTo>
                  <a:pt x="1631370" y="47210"/>
                  <a:pt x="-341877" y="11629"/>
                  <a:pt x="5124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dist="63500" dir="5400000" algn="t" rotWithShape="0">
              <a:schemeClr val="accent3">
                <a:alpha val="3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16" rIns="91416" rtlCol="0" anchor="ctr">
            <a:noAutofit/>
          </a:bodyPr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95" name="Rectangle: Rounded Corners 74">
            <a:extLst>
              <a:ext uri="{FF2B5EF4-FFF2-40B4-BE49-F238E27FC236}">
                <a16:creationId xmlns:a16="http://schemas.microsoft.com/office/drawing/2014/main" id="{2142C436-9DC3-B717-9693-1A96EEA4CCFB}"/>
              </a:ext>
            </a:extLst>
          </p:cNvPr>
          <p:cNvSpPr/>
          <p:nvPr/>
        </p:nvSpPr>
        <p:spPr>
          <a:xfrm>
            <a:off x="6717123" y="4571942"/>
            <a:ext cx="4475962" cy="388470"/>
          </a:xfrm>
          <a:prstGeom prst="roundRect">
            <a:avLst>
              <a:gd name="adj" fmla="val 20111"/>
            </a:avLst>
          </a:prstGeom>
          <a:blipFill dpi="0" rotWithShape="1">
            <a:blip r:embed="rId6" cstate="email">
              <a:alphaModFix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IN Next LT Arabic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99" name="Trapezoid 98">
            <a:extLst>
              <a:ext uri="{FF2B5EF4-FFF2-40B4-BE49-F238E27FC236}">
                <a16:creationId xmlns:a16="http://schemas.microsoft.com/office/drawing/2014/main" id="{818607A5-5B6F-40AB-F186-35C48756A00A}"/>
              </a:ext>
            </a:extLst>
          </p:cNvPr>
          <p:cNvSpPr/>
          <p:nvPr/>
        </p:nvSpPr>
        <p:spPr>
          <a:xfrm rot="10800000" flipV="1">
            <a:off x="9057978" y="4484975"/>
            <a:ext cx="2116645" cy="51665"/>
          </a:xfrm>
          <a:prstGeom prst="trapezoid">
            <a:avLst>
              <a:gd name="adj" fmla="val 86605"/>
            </a:avLst>
          </a:prstGeom>
          <a:solidFill>
            <a:srgbClr val="203764"/>
          </a:solidFill>
          <a:ln w="12700">
            <a:noFill/>
          </a:ln>
          <a:effectLst>
            <a:outerShdw blurRad="50800" dist="38100" dir="16200000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00" name="Round Same Side Corner Rectangle 153">
            <a:extLst>
              <a:ext uri="{FF2B5EF4-FFF2-40B4-BE49-F238E27FC236}">
                <a16:creationId xmlns:a16="http://schemas.microsoft.com/office/drawing/2014/main" id="{D60E55E7-1D09-5FCC-77AC-08B6F68AAD3E}"/>
              </a:ext>
            </a:extLst>
          </p:cNvPr>
          <p:cNvSpPr/>
          <p:nvPr/>
        </p:nvSpPr>
        <p:spPr>
          <a:xfrm flipV="1">
            <a:off x="9167129" y="4482743"/>
            <a:ext cx="1905586" cy="17367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203764"/>
          </a:solidFill>
          <a:ln w="12700">
            <a:noFill/>
          </a:ln>
          <a:effectLst>
            <a:outerShdw blurRad="102542" dist="38100" dir="5400000" algn="t" rotWithShape="0">
              <a:prstClr val="black">
                <a:alpha val="2177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A42EDBF6-0BAE-72CF-7032-10CA32DDE301}"/>
              </a:ext>
            </a:extLst>
          </p:cNvPr>
          <p:cNvSpPr/>
          <p:nvPr/>
        </p:nvSpPr>
        <p:spPr>
          <a:xfrm>
            <a:off x="9402411" y="4471915"/>
            <a:ext cx="152017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7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mohammad bold art 1" pitchFamily="2" charset="-78"/>
                <a:sym typeface="Arial"/>
              </a:rPr>
              <a:t>وجود نسخة باللغة الانجليزية</a:t>
            </a:r>
            <a:endParaRPr kumimoji="0" lang="en-US" sz="7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07" name="Rectangle: Rounded Corners 74">
            <a:extLst>
              <a:ext uri="{FF2B5EF4-FFF2-40B4-BE49-F238E27FC236}">
                <a16:creationId xmlns:a16="http://schemas.microsoft.com/office/drawing/2014/main" id="{D09987C3-5794-0C2F-F990-3A66C64ED222}"/>
              </a:ext>
            </a:extLst>
          </p:cNvPr>
          <p:cNvSpPr/>
          <p:nvPr/>
        </p:nvSpPr>
        <p:spPr>
          <a:xfrm>
            <a:off x="6724176" y="5173248"/>
            <a:ext cx="4475962" cy="388470"/>
          </a:xfrm>
          <a:prstGeom prst="roundRect">
            <a:avLst>
              <a:gd name="adj" fmla="val 20111"/>
            </a:avLst>
          </a:prstGeom>
          <a:blipFill dpi="0" rotWithShape="1">
            <a:blip r:embed="rId6" cstate="email">
              <a:alphaModFix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IN Next LT Arabic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11" name="Trapezoid 110">
            <a:extLst>
              <a:ext uri="{FF2B5EF4-FFF2-40B4-BE49-F238E27FC236}">
                <a16:creationId xmlns:a16="http://schemas.microsoft.com/office/drawing/2014/main" id="{BBDDDA5B-B6AE-726C-AF54-48A7133A1744}"/>
              </a:ext>
            </a:extLst>
          </p:cNvPr>
          <p:cNvSpPr/>
          <p:nvPr/>
        </p:nvSpPr>
        <p:spPr>
          <a:xfrm rot="10800000" flipV="1">
            <a:off x="9065030" y="5086281"/>
            <a:ext cx="2116645" cy="51665"/>
          </a:xfrm>
          <a:prstGeom prst="trapezoid">
            <a:avLst>
              <a:gd name="adj" fmla="val 86605"/>
            </a:avLst>
          </a:prstGeom>
          <a:solidFill>
            <a:srgbClr val="203764"/>
          </a:solidFill>
          <a:ln w="12700">
            <a:noFill/>
          </a:ln>
          <a:effectLst>
            <a:outerShdw blurRad="50800" dist="38100" dir="16200000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12" name="Round Same Side Corner Rectangle 153">
            <a:extLst>
              <a:ext uri="{FF2B5EF4-FFF2-40B4-BE49-F238E27FC236}">
                <a16:creationId xmlns:a16="http://schemas.microsoft.com/office/drawing/2014/main" id="{918BF411-448B-88F1-46B3-081740F47324}"/>
              </a:ext>
            </a:extLst>
          </p:cNvPr>
          <p:cNvSpPr/>
          <p:nvPr/>
        </p:nvSpPr>
        <p:spPr>
          <a:xfrm flipV="1">
            <a:off x="9174181" y="5084049"/>
            <a:ext cx="1905586" cy="17367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203764"/>
          </a:solidFill>
          <a:ln w="12700">
            <a:noFill/>
          </a:ln>
          <a:effectLst>
            <a:outerShdw blurRad="102542" dist="38100" dir="5400000" algn="t" rotWithShape="0">
              <a:prstClr val="black">
                <a:alpha val="2177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24E11B4-9186-D8F1-D54E-67C4B071BBD7}"/>
              </a:ext>
            </a:extLst>
          </p:cNvPr>
          <p:cNvSpPr/>
          <p:nvPr/>
        </p:nvSpPr>
        <p:spPr>
          <a:xfrm>
            <a:off x="9409463" y="5073221"/>
            <a:ext cx="152017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7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mohammad bold art 1" pitchFamily="2" charset="-78"/>
                <a:sym typeface="Arial"/>
              </a:rPr>
              <a:t>وجود صفحات سياسات مختصة</a:t>
            </a:r>
            <a:endParaRPr kumimoji="0" lang="en-US" sz="7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89E5D097-D326-493C-8F6D-4DE16BF6F4D6}"/>
              </a:ext>
            </a:extLst>
          </p:cNvPr>
          <p:cNvSpPr txBox="1"/>
          <p:nvPr/>
        </p:nvSpPr>
        <p:spPr>
          <a:xfrm>
            <a:off x="6835930" y="4121924"/>
            <a:ext cx="41280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ar-SA" sz="1000" dirty="0">
                <a:solidFill>
                  <a:srgbClr val="FF0000"/>
                </a:solidFill>
                <a:latin typeface="Century Gothic" panose="020B0502020202020204" pitchFamily="34" charset="0"/>
                <a:cs typeface="mohammad bold art 1" pitchFamily="2" charset="-78"/>
                <a:sym typeface="Arial"/>
              </a:rPr>
              <a:t>09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9C5D3060-7313-BD98-DE04-9E3685815E94}"/>
              </a:ext>
            </a:extLst>
          </p:cNvPr>
          <p:cNvSpPr txBox="1"/>
          <p:nvPr/>
        </p:nvSpPr>
        <p:spPr>
          <a:xfrm>
            <a:off x="6835931" y="4711945"/>
            <a:ext cx="41280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ar-SA" sz="1000" dirty="0">
                <a:solidFill>
                  <a:srgbClr val="FF0000"/>
                </a:solidFill>
                <a:latin typeface="Century Gothic" panose="020B0502020202020204" pitchFamily="34" charset="0"/>
                <a:cs typeface="mohammad bold art 1" pitchFamily="2" charset="-78"/>
                <a:sym typeface="Arial"/>
              </a:rPr>
              <a:t>10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F86DDD0C-B1C0-563F-88C7-5A5ED9B3C484}"/>
              </a:ext>
            </a:extLst>
          </p:cNvPr>
          <p:cNvSpPr txBox="1"/>
          <p:nvPr/>
        </p:nvSpPr>
        <p:spPr>
          <a:xfrm>
            <a:off x="6902103" y="5302371"/>
            <a:ext cx="40618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ar-SA" sz="1000" dirty="0">
                <a:solidFill>
                  <a:srgbClr val="FF0000"/>
                </a:solidFill>
                <a:latin typeface="Century Gothic" panose="020B0502020202020204" pitchFamily="34" charset="0"/>
                <a:cs typeface="mohammad bold art 1" pitchFamily="2" charset="-78"/>
                <a:sym typeface="Arial"/>
              </a:rPr>
              <a:t>11</a:t>
            </a:r>
          </a:p>
        </p:txBody>
      </p:sp>
      <p:sp>
        <p:nvSpPr>
          <p:cNvPr id="14" name="Freeform 298">
            <a:extLst>
              <a:ext uri="{FF2B5EF4-FFF2-40B4-BE49-F238E27FC236}">
                <a16:creationId xmlns:a16="http://schemas.microsoft.com/office/drawing/2014/main" id="{63EB84F8-64C4-28E0-7A66-6B6781C6F5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94756" y="2301241"/>
            <a:ext cx="1254994" cy="413251"/>
          </a:xfrm>
          <a:prstGeom prst="roundRect">
            <a:avLst>
              <a:gd name="adj" fmla="val 9268"/>
            </a:avLst>
          </a:prstGeom>
          <a:solidFill>
            <a:sysClr val="window" lastClr="FFFFFF"/>
          </a:solidFill>
          <a:ln w="6350">
            <a:solidFill>
              <a:sysClr val="window" lastClr="FFFFFF">
                <a:lumMod val="75000"/>
              </a:sysClr>
            </a:solidFill>
          </a:ln>
          <a:effectLst>
            <a:outerShdw blurRad="94944" dist="38100" dir="2700000" algn="tl" rotWithShape="0">
              <a:prstClr val="black">
                <a:alpha val="1386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5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l-Mohanad Bold" panose="02060603050605020204" pitchFamily="18" charset="-78"/>
                <a:ea typeface="+mn-ea"/>
                <a:cs typeface="Al-Mohanad Bold" panose="02060603050605020204" pitchFamily="18" charset="-78"/>
                <a:sym typeface="+mj-lt"/>
              </a:rPr>
              <a:t>الغرض من جمع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l-Mohanad Bold" panose="02060603050605020204" pitchFamily="18" charset="-78"/>
              <a:ea typeface="+mn-ea"/>
              <a:cs typeface="Al-Mohanad Bold" panose="02060603050605020204" pitchFamily="18" charset="-78"/>
              <a:sym typeface="+mj-lt"/>
            </a:endParaRPr>
          </a:p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5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l-Mohanad Bold" panose="02060603050605020204" pitchFamily="18" charset="-78"/>
                <a:ea typeface="+mn-ea"/>
                <a:cs typeface="Al-Mohanad Bold" panose="02060603050605020204" pitchFamily="18" charset="-78"/>
                <a:sym typeface="+mj-lt"/>
              </a:rPr>
              <a:t> البيانات الشخصية.</a:t>
            </a:r>
          </a:p>
        </p:txBody>
      </p:sp>
      <p:sp>
        <p:nvSpPr>
          <p:cNvPr id="15" name="Freeform 249">
            <a:extLst>
              <a:ext uri="{FF2B5EF4-FFF2-40B4-BE49-F238E27FC236}">
                <a16:creationId xmlns:a16="http://schemas.microsoft.com/office/drawing/2014/main" id="{E982DEFC-48D1-3AA2-104A-57ADB62249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02597" y="2295402"/>
            <a:ext cx="140326" cy="430182"/>
          </a:xfrm>
          <a:prstGeom prst="roundRect">
            <a:avLst/>
          </a:prstGeom>
          <a:solidFill>
            <a:srgbClr val="00206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-Mohanad Bold" panose="02060603050605020204" pitchFamily="18" charset="-78"/>
              <a:ea typeface="+mn-ea"/>
              <a:cs typeface="Al-Mohanad Bold" panose="02060603050605020204" pitchFamily="18" charset="-78"/>
            </a:endParaRPr>
          </a:p>
        </p:txBody>
      </p:sp>
      <p:sp>
        <p:nvSpPr>
          <p:cNvPr id="17" name="Freeform 298">
            <a:extLst>
              <a:ext uri="{FF2B5EF4-FFF2-40B4-BE49-F238E27FC236}">
                <a16:creationId xmlns:a16="http://schemas.microsoft.com/office/drawing/2014/main" id="{174B11D5-81BF-83F0-B255-4A9D950D65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58002" y="2322321"/>
            <a:ext cx="1254994" cy="413251"/>
          </a:xfrm>
          <a:prstGeom prst="roundRect">
            <a:avLst>
              <a:gd name="adj" fmla="val 9268"/>
            </a:avLst>
          </a:prstGeom>
          <a:solidFill>
            <a:sysClr val="window" lastClr="FFFFFF"/>
          </a:solidFill>
          <a:ln>
            <a:solidFill>
              <a:sysClr val="window" lastClr="FFFFFF">
                <a:lumMod val="75000"/>
              </a:sysClr>
            </a:solidFill>
          </a:ln>
          <a:effectLst>
            <a:outerShdw blurRad="94944" dist="38100" dir="2700000" algn="tl" rotWithShape="0">
              <a:prstClr val="black">
                <a:alpha val="1386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5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l-Mohanad Bold" panose="02060603050605020204" pitchFamily="18" charset="-78"/>
                <a:ea typeface="+mn-ea"/>
                <a:cs typeface="Al-Mohanad Bold" panose="02060603050605020204" pitchFamily="18" charset="-78"/>
                <a:sym typeface="+mj-lt"/>
              </a:rPr>
              <a:t>البيانات الشخصية 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l-Mohanad Bold" panose="02060603050605020204" pitchFamily="18" charset="-78"/>
              <a:ea typeface="+mn-ea"/>
              <a:cs typeface="Al-Mohanad Bold" panose="02060603050605020204" pitchFamily="18" charset="-78"/>
              <a:sym typeface="+mj-lt"/>
            </a:endParaRPr>
          </a:p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5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l-Mohanad Bold" panose="02060603050605020204" pitchFamily="18" charset="-78"/>
                <a:ea typeface="+mn-ea"/>
                <a:cs typeface="Al-Mohanad Bold" panose="02060603050605020204" pitchFamily="18" charset="-78"/>
                <a:sym typeface="+mj-lt"/>
              </a:rPr>
              <a:t>المطلوب جمعها.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l-Mohanad Bold" panose="02060603050605020204" pitchFamily="18" charset="-78"/>
              <a:ea typeface="+mn-ea"/>
              <a:cs typeface="Al-Mohanad Bold" panose="02060603050605020204" pitchFamily="18" charset="-78"/>
              <a:sym typeface="+mj-lt"/>
            </a:endParaRPr>
          </a:p>
        </p:txBody>
      </p:sp>
      <p:sp>
        <p:nvSpPr>
          <p:cNvPr id="18" name="Freeform 249">
            <a:extLst>
              <a:ext uri="{FF2B5EF4-FFF2-40B4-BE49-F238E27FC236}">
                <a16:creationId xmlns:a16="http://schemas.microsoft.com/office/drawing/2014/main" id="{A464A014-8C68-5974-B3B2-45CDCDDE35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5843" y="2310300"/>
            <a:ext cx="140326" cy="430182"/>
          </a:xfrm>
          <a:prstGeom prst="roundRect">
            <a:avLst/>
          </a:prstGeom>
          <a:solidFill>
            <a:srgbClr val="00206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-Mohanad Bold" panose="02060603050605020204" pitchFamily="18" charset="-78"/>
              <a:ea typeface="+mn-ea"/>
              <a:cs typeface="Al-Mohanad Bold" panose="02060603050605020204" pitchFamily="18" charset="-78"/>
            </a:endParaRPr>
          </a:p>
        </p:txBody>
      </p:sp>
      <p:sp>
        <p:nvSpPr>
          <p:cNvPr id="21" name="Freeform 298">
            <a:extLst>
              <a:ext uri="{FF2B5EF4-FFF2-40B4-BE49-F238E27FC236}">
                <a16:creationId xmlns:a16="http://schemas.microsoft.com/office/drawing/2014/main" id="{1C814D03-B538-3034-C28F-8D3EED0898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7132" y="2343401"/>
            <a:ext cx="1254995" cy="413251"/>
          </a:xfrm>
          <a:prstGeom prst="roundRect">
            <a:avLst>
              <a:gd name="adj" fmla="val 9268"/>
            </a:avLst>
          </a:prstGeom>
          <a:solidFill>
            <a:sysClr val="window" lastClr="FFFFFF"/>
          </a:solidFill>
          <a:ln>
            <a:solidFill>
              <a:sysClr val="window" lastClr="FFFFFF">
                <a:lumMod val="75000"/>
              </a:sysClr>
            </a:solidFill>
          </a:ln>
          <a:effectLst>
            <a:outerShdw blurRad="94944" dist="38100" dir="2700000" algn="tl" rotWithShape="0">
              <a:prstClr val="black">
                <a:alpha val="1386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5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l-Mohanad Bold" panose="02060603050605020204" pitchFamily="18" charset="-78"/>
                <a:ea typeface="+mn-ea"/>
                <a:cs typeface="Al-Mohanad Bold" panose="02060603050605020204" pitchFamily="18" charset="-78"/>
                <a:sym typeface="+mj-lt"/>
              </a:rPr>
              <a:t> طريقة جمع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l-Mohanad Bold" panose="02060603050605020204" pitchFamily="18" charset="-78"/>
              <a:ea typeface="+mn-ea"/>
              <a:cs typeface="Al-Mohanad Bold" panose="02060603050605020204" pitchFamily="18" charset="-78"/>
              <a:sym typeface="+mj-lt"/>
            </a:endParaRPr>
          </a:p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5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l-Mohanad Bold" panose="02060603050605020204" pitchFamily="18" charset="-78"/>
                <a:ea typeface="+mn-ea"/>
                <a:cs typeface="Al-Mohanad Bold" panose="02060603050605020204" pitchFamily="18" charset="-78"/>
                <a:sym typeface="+mj-lt"/>
              </a:rPr>
              <a:t> البيانات الشخصية.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l-Mohanad Bold" panose="02060603050605020204" pitchFamily="18" charset="-78"/>
              <a:ea typeface="+mn-ea"/>
              <a:cs typeface="Al-Mohanad Bold" panose="02060603050605020204" pitchFamily="18" charset="-78"/>
              <a:sym typeface="+mj-lt"/>
            </a:endParaRPr>
          </a:p>
        </p:txBody>
      </p:sp>
      <p:sp>
        <p:nvSpPr>
          <p:cNvPr id="22" name="Freeform 249">
            <a:extLst>
              <a:ext uri="{FF2B5EF4-FFF2-40B4-BE49-F238E27FC236}">
                <a16:creationId xmlns:a16="http://schemas.microsoft.com/office/drawing/2014/main" id="{0E5930C5-5DFB-1CA1-3EEB-EDEFF8E8D2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092" y="2325198"/>
            <a:ext cx="140326" cy="430182"/>
          </a:xfrm>
          <a:prstGeom prst="roundRect">
            <a:avLst/>
          </a:prstGeom>
          <a:solidFill>
            <a:srgbClr val="00206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-Mohanad Bold" panose="02060603050605020204" pitchFamily="18" charset="-78"/>
              <a:ea typeface="+mn-ea"/>
              <a:cs typeface="Al-Mohanad Bold" panose="02060603050605020204" pitchFamily="18" charset="-78"/>
            </a:endParaRPr>
          </a:p>
        </p:txBody>
      </p:sp>
      <p:sp>
        <p:nvSpPr>
          <p:cNvPr id="24" name="Freeform 298">
            <a:extLst>
              <a:ext uri="{FF2B5EF4-FFF2-40B4-BE49-F238E27FC236}">
                <a16:creationId xmlns:a16="http://schemas.microsoft.com/office/drawing/2014/main" id="{83BC8076-14A8-9756-7F87-CD4A4C579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90381" y="2350338"/>
            <a:ext cx="1254994" cy="413251"/>
          </a:xfrm>
          <a:prstGeom prst="roundRect">
            <a:avLst>
              <a:gd name="adj" fmla="val 9268"/>
            </a:avLst>
          </a:prstGeom>
          <a:solidFill>
            <a:sysClr val="window" lastClr="FFFFFF"/>
          </a:solidFill>
          <a:ln>
            <a:solidFill>
              <a:sysClr val="window" lastClr="FFFFFF">
                <a:lumMod val="75000"/>
              </a:sysClr>
            </a:solidFill>
          </a:ln>
          <a:effectLst>
            <a:outerShdw blurRad="94944" dist="38100" dir="2700000" algn="tl" rotWithShape="0">
              <a:prstClr val="black">
                <a:alpha val="1386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5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l-Mohanad Bold" panose="02060603050605020204" pitchFamily="18" charset="-78"/>
                <a:ea typeface="+mn-ea"/>
                <a:cs typeface="Al-Mohanad Bold" panose="02060603050605020204" pitchFamily="18" charset="-78"/>
                <a:sym typeface="+mj-lt"/>
              </a:rPr>
              <a:t>وسيلة الحفظ.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l-Mohanad Bold" panose="02060603050605020204" pitchFamily="18" charset="-78"/>
              <a:ea typeface="+mn-ea"/>
              <a:cs typeface="Al-Mohanad Bold" panose="02060603050605020204" pitchFamily="18" charset="-78"/>
              <a:sym typeface="+mj-lt"/>
            </a:endParaRPr>
          </a:p>
        </p:txBody>
      </p:sp>
      <p:sp>
        <p:nvSpPr>
          <p:cNvPr id="25" name="Freeform 249">
            <a:extLst>
              <a:ext uri="{FF2B5EF4-FFF2-40B4-BE49-F238E27FC236}">
                <a16:creationId xmlns:a16="http://schemas.microsoft.com/office/drawing/2014/main" id="{ADBCA570-05E0-177D-1AFC-487BBCAC88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8222" y="2341368"/>
            <a:ext cx="140326" cy="430182"/>
          </a:xfrm>
          <a:prstGeom prst="roundRect">
            <a:avLst/>
          </a:prstGeom>
          <a:solidFill>
            <a:srgbClr val="00206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-Mohanad Bold" panose="02060603050605020204" pitchFamily="18" charset="-78"/>
              <a:ea typeface="+mn-ea"/>
              <a:cs typeface="Al-Mohanad Bold" panose="02060603050605020204" pitchFamily="18" charset="-78"/>
            </a:endParaRPr>
          </a:p>
        </p:txBody>
      </p:sp>
      <p:sp>
        <p:nvSpPr>
          <p:cNvPr id="27" name="Freeform 298">
            <a:extLst>
              <a:ext uri="{FF2B5EF4-FFF2-40B4-BE49-F238E27FC236}">
                <a16:creationId xmlns:a16="http://schemas.microsoft.com/office/drawing/2014/main" id="{6D83F430-CAA7-0BDF-F113-B762E00D16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0759" y="2356266"/>
            <a:ext cx="1254994" cy="413251"/>
          </a:xfrm>
          <a:prstGeom prst="roundRect">
            <a:avLst>
              <a:gd name="adj" fmla="val 9268"/>
            </a:avLst>
          </a:prstGeom>
          <a:solidFill>
            <a:sysClr val="window" lastClr="FFFFFF"/>
          </a:solidFill>
          <a:ln>
            <a:solidFill>
              <a:sysClr val="window" lastClr="FFFFFF">
                <a:lumMod val="75000"/>
              </a:sysClr>
            </a:solidFill>
          </a:ln>
          <a:effectLst>
            <a:outerShdw blurRad="94944" dist="38100" dir="2700000" algn="tl" rotWithShape="0">
              <a:prstClr val="black">
                <a:alpha val="1386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5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l-Mohanad Bold" panose="02060603050605020204" pitchFamily="18" charset="-78"/>
                <a:ea typeface="+mn-ea"/>
                <a:cs typeface="Al-Mohanad Bold" panose="02060603050605020204" pitchFamily="18" charset="-78"/>
                <a:sym typeface="+mj-lt"/>
              </a:rPr>
              <a:t> كيفية المعالجة.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l-Mohanad Bold" panose="02060603050605020204" pitchFamily="18" charset="-78"/>
              <a:ea typeface="+mn-ea"/>
              <a:cs typeface="Al-Mohanad Bold" panose="02060603050605020204" pitchFamily="18" charset="-78"/>
              <a:sym typeface="+mj-lt"/>
            </a:endParaRPr>
          </a:p>
        </p:txBody>
      </p:sp>
      <p:sp>
        <p:nvSpPr>
          <p:cNvPr id="66" name="Freeform 249">
            <a:extLst>
              <a:ext uri="{FF2B5EF4-FFF2-40B4-BE49-F238E27FC236}">
                <a16:creationId xmlns:a16="http://schemas.microsoft.com/office/drawing/2014/main" id="{156E3001-C1C3-6B03-1C73-32F96A5A45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61470" y="2367234"/>
            <a:ext cx="140326" cy="400863"/>
          </a:xfrm>
          <a:prstGeom prst="roundRect">
            <a:avLst/>
          </a:prstGeom>
          <a:solidFill>
            <a:srgbClr val="00206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-Mohanad Bold" panose="02060603050605020204" pitchFamily="18" charset="-78"/>
              <a:ea typeface="+mn-ea"/>
              <a:cs typeface="Al-Mohanad Bold" panose="02060603050605020204" pitchFamily="18" charset="-78"/>
            </a:endParaRPr>
          </a:p>
        </p:txBody>
      </p:sp>
      <p:sp>
        <p:nvSpPr>
          <p:cNvPr id="161" name="Freeform 298">
            <a:extLst>
              <a:ext uri="{FF2B5EF4-FFF2-40B4-BE49-F238E27FC236}">
                <a16:creationId xmlns:a16="http://schemas.microsoft.com/office/drawing/2014/main" id="{62590AAE-240C-8EDC-7836-6DC65A4357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9889" y="2372436"/>
            <a:ext cx="1254995" cy="413251"/>
          </a:xfrm>
          <a:prstGeom prst="roundRect">
            <a:avLst>
              <a:gd name="adj" fmla="val 9268"/>
            </a:avLst>
          </a:prstGeom>
          <a:solidFill>
            <a:sysClr val="window" lastClr="FFFFFF"/>
          </a:solidFill>
          <a:ln>
            <a:solidFill>
              <a:sysClr val="window" lastClr="FFFFFF">
                <a:lumMod val="75000"/>
              </a:sysClr>
            </a:solidFill>
          </a:ln>
          <a:effectLst>
            <a:outerShdw blurRad="94944" dist="38100" dir="2700000" algn="tl" rotWithShape="0">
              <a:prstClr val="black">
                <a:alpha val="1386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5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l-Mohanad Bold" panose="02060603050605020204" pitchFamily="18" charset="-78"/>
                <a:ea typeface="+mn-ea"/>
                <a:cs typeface="Al-Mohanad Bold" panose="02060603050605020204" pitchFamily="18" charset="-78"/>
                <a:sym typeface="+mj-lt"/>
              </a:rPr>
              <a:t>كيفية الإتلاف.</a:t>
            </a:r>
          </a:p>
        </p:txBody>
      </p:sp>
      <p:sp>
        <p:nvSpPr>
          <p:cNvPr id="162" name="Freeform 249">
            <a:extLst>
              <a:ext uri="{FF2B5EF4-FFF2-40B4-BE49-F238E27FC236}">
                <a16:creationId xmlns:a16="http://schemas.microsoft.com/office/drawing/2014/main" id="{DC96E424-2D1F-4D25-BAA0-DC89401DC5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1849" y="2354233"/>
            <a:ext cx="140326" cy="430182"/>
          </a:xfrm>
          <a:prstGeom prst="roundRect">
            <a:avLst/>
          </a:prstGeom>
          <a:solidFill>
            <a:srgbClr val="00206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-Mohanad Bold" panose="02060603050605020204" pitchFamily="18" charset="-78"/>
              <a:ea typeface="+mn-ea"/>
              <a:cs typeface="Al-Mohanad Bold" panose="02060603050605020204" pitchFamily="18" charset="-78"/>
            </a:endParaRPr>
          </a:p>
        </p:txBody>
      </p:sp>
      <p:sp>
        <p:nvSpPr>
          <p:cNvPr id="164" name="Freeform 298">
            <a:extLst>
              <a:ext uri="{FF2B5EF4-FFF2-40B4-BE49-F238E27FC236}">
                <a16:creationId xmlns:a16="http://schemas.microsoft.com/office/drawing/2014/main" id="{41C45002-89DB-1B0F-701B-E7D500FE37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3137" y="2379373"/>
            <a:ext cx="1254994" cy="413251"/>
          </a:xfrm>
          <a:prstGeom prst="roundRect">
            <a:avLst>
              <a:gd name="adj" fmla="val 9268"/>
            </a:avLst>
          </a:prstGeom>
          <a:solidFill>
            <a:sysClr val="window" lastClr="FFFFFF"/>
          </a:solidFill>
          <a:ln>
            <a:solidFill>
              <a:sysClr val="window" lastClr="FFFFFF">
                <a:lumMod val="75000"/>
              </a:sysClr>
            </a:solidFill>
          </a:ln>
          <a:effectLst>
            <a:outerShdw blurRad="94944" dist="38100" dir="2700000" algn="tl" rotWithShape="0">
              <a:prstClr val="black">
                <a:alpha val="1386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5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l-Mohanad Bold" panose="02060603050605020204" pitchFamily="18" charset="-78"/>
                <a:ea typeface="+mn-ea"/>
                <a:cs typeface="Al-Mohanad Bold" panose="02060603050605020204" pitchFamily="18" charset="-78"/>
                <a:sym typeface="+mj-lt"/>
              </a:rPr>
              <a:t>حقوق صاحب</a:t>
            </a:r>
          </a:p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5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l-Mohanad Bold" panose="02060603050605020204" pitchFamily="18" charset="-78"/>
                <a:ea typeface="+mn-ea"/>
                <a:cs typeface="Al-Mohanad Bold" panose="02060603050605020204" pitchFamily="18" charset="-78"/>
                <a:sym typeface="+mj-lt"/>
              </a:rPr>
              <a:t> البيانات الشخصية.</a:t>
            </a:r>
          </a:p>
        </p:txBody>
      </p:sp>
      <p:sp>
        <p:nvSpPr>
          <p:cNvPr id="165" name="Freeform 249">
            <a:extLst>
              <a:ext uri="{FF2B5EF4-FFF2-40B4-BE49-F238E27FC236}">
                <a16:creationId xmlns:a16="http://schemas.microsoft.com/office/drawing/2014/main" id="{8793CB12-437D-EF2A-3847-70DA849962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0978" y="2370403"/>
            <a:ext cx="140326" cy="430182"/>
          </a:xfrm>
          <a:prstGeom prst="roundRect">
            <a:avLst/>
          </a:prstGeom>
          <a:solidFill>
            <a:srgbClr val="00206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-Mohanad Bold" panose="02060603050605020204" pitchFamily="18" charset="-78"/>
              <a:ea typeface="+mn-ea"/>
              <a:cs typeface="Al-Mohanad Bold" panose="02060603050605020204" pitchFamily="18" charset="-78"/>
            </a:endParaRPr>
          </a:p>
        </p:txBody>
      </p:sp>
      <p:sp>
        <p:nvSpPr>
          <p:cNvPr id="167" name="Freeform 298">
            <a:extLst>
              <a:ext uri="{FF2B5EF4-FFF2-40B4-BE49-F238E27FC236}">
                <a16:creationId xmlns:a16="http://schemas.microsoft.com/office/drawing/2014/main" id="{FD98174F-F1C1-85FB-91B2-08231CDDCF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516" y="2385301"/>
            <a:ext cx="1254994" cy="413251"/>
          </a:xfrm>
          <a:prstGeom prst="roundRect">
            <a:avLst>
              <a:gd name="adj" fmla="val 9268"/>
            </a:avLst>
          </a:prstGeom>
          <a:solidFill>
            <a:sysClr val="window" lastClr="FFFFFF"/>
          </a:solidFill>
          <a:ln>
            <a:solidFill>
              <a:sysClr val="window" lastClr="FFFFFF">
                <a:lumMod val="75000"/>
              </a:sysClr>
            </a:solidFill>
          </a:ln>
          <a:effectLst>
            <a:outerShdw blurRad="94944" dist="38100" dir="2700000" algn="tl" rotWithShape="0">
              <a:prstClr val="black">
                <a:alpha val="13860"/>
              </a:prstClr>
            </a:outerShdw>
          </a:effectLst>
        </p:spPr>
        <p:txBody>
          <a:bodyPr wrap="none" anchor="ctr"/>
          <a:lstStyle/>
          <a:p>
            <a:pPr lvl="0" algn="ctr" rtl="1">
              <a:defRPr/>
            </a:pPr>
            <a:r>
              <a:rPr lang="ar-SA" sz="1050" kern="0" dirty="0">
                <a:latin typeface="Al-Mohanad Bold" panose="02060603050605020204" pitchFamily="18" charset="-78"/>
                <a:cs typeface="Al-Mohanad Bold" panose="02060603050605020204" pitchFamily="18" charset="-78"/>
                <a:sym typeface="+mj-lt"/>
              </a:rPr>
              <a:t> كيفية </a:t>
            </a:r>
            <a:endParaRPr lang="en-US" sz="1050" kern="0" dirty="0">
              <a:latin typeface="Al-Mohanad Bold" panose="02060603050605020204" pitchFamily="18" charset="-78"/>
              <a:cs typeface="Al-Mohanad Bold" panose="02060603050605020204" pitchFamily="18" charset="-78"/>
              <a:sym typeface="+mj-lt"/>
            </a:endParaRPr>
          </a:p>
          <a:p>
            <a:pPr lvl="0" algn="ctr" rtl="1">
              <a:defRPr/>
            </a:pPr>
            <a:r>
              <a:rPr lang="ar-SA" sz="1050" kern="0" dirty="0">
                <a:latin typeface="Al-Mohanad Bold" panose="02060603050605020204" pitchFamily="18" charset="-78"/>
                <a:cs typeface="Al-Mohanad Bold" panose="02060603050605020204" pitchFamily="18" charset="-78"/>
                <a:sym typeface="+mj-lt"/>
              </a:rPr>
              <a:t>ممارسة الحقوق.</a:t>
            </a:r>
            <a:endParaRPr lang="en-US" sz="1050" kern="0" dirty="0">
              <a:latin typeface="Al-Mohanad Bold" panose="02060603050605020204" pitchFamily="18" charset="-78"/>
              <a:cs typeface="Al-Mohanad Bold" panose="02060603050605020204" pitchFamily="18" charset="-78"/>
              <a:sym typeface="+mj-lt"/>
            </a:endParaRPr>
          </a:p>
        </p:txBody>
      </p:sp>
      <p:sp>
        <p:nvSpPr>
          <p:cNvPr id="168" name="Freeform 249">
            <a:extLst>
              <a:ext uri="{FF2B5EF4-FFF2-40B4-BE49-F238E27FC236}">
                <a16:creationId xmlns:a16="http://schemas.microsoft.com/office/drawing/2014/main" id="{17040152-386A-F4B3-EBBE-6A521344A6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4227" y="2396269"/>
            <a:ext cx="140326" cy="400863"/>
          </a:xfrm>
          <a:prstGeom prst="roundRect">
            <a:avLst/>
          </a:prstGeom>
          <a:solidFill>
            <a:srgbClr val="00206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l-Mohanad Bold" panose="02060603050605020204" pitchFamily="18" charset="-78"/>
              <a:ea typeface="+mn-ea"/>
              <a:cs typeface="Al-Mohanad Bold" panose="02060603050605020204" pitchFamily="18" charset="-78"/>
            </a:endParaRPr>
          </a:p>
        </p:txBody>
      </p:sp>
      <p:sp>
        <p:nvSpPr>
          <p:cNvPr id="336" name="Rectangle: Rounded Corners 335">
            <a:extLst>
              <a:ext uri="{FF2B5EF4-FFF2-40B4-BE49-F238E27FC236}">
                <a16:creationId xmlns:a16="http://schemas.microsoft.com/office/drawing/2014/main" id="{2B18295B-04C3-7840-5C13-1EFC103FEE9C}"/>
              </a:ext>
            </a:extLst>
          </p:cNvPr>
          <p:cNvSpPr/>
          <p:nvPr/>
        </p:nvSpPr>
        <p:spPr>
          <a:xfrm>
            <a:off x="4287884" y="183525"/>
            <a:ext cx="2058390" cy="1127324"/>
          </a:xfrm>
          <a:prstGeom prst="roundRect">
            <a:avLst>
              <a:gd name="adj" fmla="val 7576"/>
            </a:avLst>
          </a:prstGeom>
          <a:blipFill dpi="0" rotWithShape="1">
            <a:blip r:embed="rId8" cstate="email">
              <a:alphaModFix amt="35000"/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76" name="Rectangle: Rounded Corners 74">
            <a:extLst>
              <a:ext uri="{FF2B5EF4-FFF2-40B4-BE49-F238E27FC236}">
                <a16:creationId xmlns:a16="http://schemas.microsoft.com/office/drawing/2014/main" id="{C2E9F646-3717-9CFD-31B6-C9D3453B0F60}"/>
              </a:ext>
            </a:extLst>
          </p:cNvPr>
          <p:cNvSpPr/>
          <p:nvPr/>
        </p:nvSpPr>
        <p:spPr>
          <a:xfrm>
            <a:off x="6724176" y="5836689"/>
            <a:ext cx="4475962" cy="388470"/>
          </a:xfrm>
          <a:prstGeom prst="roundRect">
            <a:avLst>
              <a:gd name="adj" fmla="val 20111"/>
            </a:avLst>
          </a:prstGeom>
          <a:blipFill dpi="0" rotWithShape="1">
            <a:blip r:embed="rId6" cstate="email">
              <a:alphaModFix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IN Next LT Arabic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78" name="Trapezoid 177">
            <a:extLst>
              <a:ext uri="{FF2B5EF4-FFF2-40B4-BE49-F238E27FC236}">
                <a16:creationId xmlns:a16="http://schemas.microsoft.com/office/drawing/2014/main" id="{611CDE43-935D-DDE8-3AA5-CA736EB298F0}"/>
              </a:ext>
            </a:extLst>
          </p:cNvPr>
          <p:cNvSpPr/>
          <p:nvPr/>
        </p:nvSpPr>
        <p:spPr>
          <a:xfrm rot="10800000" flipV="1">
            <a:off x="9065030" y="5749722"/>
            <a:ext cx="2116645" cy="51665"/>
          </a:xfrm>
          <a:prstGeom prst="trapezoid">
            <a:avLst>
              <a:gd name="adj" fmla="val 86605"/>
            </a:avLst>
          </a:prstGeom>
          <a:solidFill>
            <a:srgbClr val="203764"/>
          </a:solidFill>
          <a:ln w="12700">
            <a:noFill/>
          </a:ln>
          <a:effectLst>
            <a:outerShdw blurRad="50800" dist="38100" dir="16200000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79" name="Round Same Side Corner Rectangle 153">
            <a:extLst>
              <a:ext uri="{FF2B5EF4-FFF2-40B4-BE49-F238E27FC236}">
                <a16:creationId xmlns:a16="http://schemas.microsoft.com/office/drawing/2014/main" id="{58670290-2A7D-F536-C0B4-5BA2C5F10261}"/>
              </a:ext>
            </a:extLst>
          </p:cNvPr>
          <p:cNvSpPr/>
          <p:nvPr/>
        </p:nvSpPr>
        <p:spPr>
          <a:xfrm flipV="1">
            <a:off x="9174181" y="5747490"/>
            <a:ext cx="1905586" cy="17367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203764"/>
          </a:solidFill>
          <a:ln w="12700">
            <a:noFill/>
          </a:ln>
          <a:effectLst>
            <a:outerShdw blurRad="102542" dist="38100" dir="5400000" algn="t" rotWithShape="0">
              <a:prstClr val="black">
                <a:alpha val="2177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862BE4F2-44E6-D6DE-9B6B-36542AA3CEF4}"/>
              </a:ext>
            </a:extLst>
          </p:cNvPr>
          <p:cNvSpPr/>
          <p:nvPr/>
        </p:nvSpPr>
        <p:spPr>
          <a:xfrm>
            <a:off x="9409463" y="5736662"/>
            <a:ext cx="152017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7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mohammad bold art 1" pitchFamily="2" charset="-78"/>
                <a:sym typeface="Arial"/>
              </a:rPr>
              <a:t>ترتيب ظهور الصفحة</a:t>
            </a:r>
            <a:endParaRPr kumimoji="0" lang="en-US" sz="7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081AA3FD-13CF-B9FC-D54A-DCAC7CD7FEC0}"/>
              </a:ext>
            </a:extLst>
          </p:cNvPr>
          <p:cNvSpPr txBox="1"/>
          <p:nvPr/>
        </p:nvSpPr>
        <p:spPr>
          <a:xfrm>
            <a:off x="6902103" y="5965812"/>
            <a:ext cx="40618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ar-SA" sz="1000" dirty="0">
                <a:solidFill>
                  <a:srgbClr val="FF0000"/>
                </a:solidFill>
                <a:latin typeface="Century Gothic" panose="020B0502020202020204" pitchFamily="34" charset="0"/>
                <a:cs typeface="mohammad bold art 1" pitchFamily="2" charset="-78"/>
                <a:sym typeface="Arial"/>
              </a:rPr>
              <a:t>12</a:t>
            </a:r>
          </a:p>
        </p:txBody>
      </p:sp>
      <p:sp>
        <p:nvSpPr>
          <p:cNvPr id="182" name="Rectangle: Rounded Corners 181">
            <a:extLst>
              <a:ext uri="{FF2B5EF4-FFF2-40B4-BE49-F238E27FC236}">
                <a16:creationId xmlns:a16="http://schemas.microsoft.com/office/drawing/2014/main" id="{F8E960B1-12E3-A1EE-92EF-CA8AB9BD18BA}"/>
              </a:ext>
            </a:extLst>
          </p:cNvPr>
          <p:cNvSpPr/>
          <p:nvPr/>
        </p:nvSpPr>
        <p:spPr>
          <a:xfrm>
            <a:off x="474968" y="3422092"/>
            <a:ext cx="5040404" cy="2962639"/>
          </a:xfrm>
          <a:prstGeom prst="roundRect">
            <a:avLst>
              <a:gd name="adj" fmla="val 3929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8391A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83" name="Freeform: Shape 102">
            <a:extLst>
              <a:ext uri="{FF2B5EF4-FFF2-40B4-BE49-F238E27FC236}">
                <a16:creationId xmlns:a16="http://schemas.microsoft.com/office/drawing/2014/main" id="{4F25A5AB-F88B-094A-1C0B-DC0C73F0C102}"/>
              </a:ext>
            </a:extLst>
          </p:cNvPr>
          <p:cNvSpPr/>
          <p:nvPr/>
        </p:nvSpPr>
        <p:spPr>
          <a:xfrm>
            <a:off x="4313593" y="4232645"/>
            <a:ext cx="884238" cy="18036"/>
          </a:xfrm>
          <a:custGeom>
            <a:avLst/>
            <a:gdLst>
              <a:gd name="connsiteX0" fmla="*/ 51241 w 4768656"/>
              <a:gd name="connsiteY0" fmla="*/ 0 h 135464"/>
              <a:gd name="connsiteX1" fmla="*/ 4768656 w 4768656"/>
              <a:gd name="connsiteY1" fmla="*/ 0 h 135464"/>
              <a:gd name="connsiteX2" fmla="*/ 4768656 w 4768656"/>
              <a:gd name="connsiteY2" fmla="*/ 118988 h 135464"/>
              <a:gd name="connsiteX3" fmla="*/ 4734883 w 4768656"/>
              <a:gd name="connsiteY3" fmla="*/ 129472 h 135464"/>
              <a:gd name="connsiteX4" fmla="*/ 4723843 w 4768656"/>
              <a:gd name="connsiteY4" fmla="*/ 135464 h 135464"/>
              <a:gd name="connsiteX5" fmla="*/ 4722718 w 4768656"/>
              <a:gd name="connsiteY5" fmla="*/ 135379 h 135464"/>
              <a:gd name="connsiteX6" fmla="*/ 2409950 w 4768656"/>
              <a:gd name="connsiteY6" fmla="*/ 69773 h 135464"/>
              <a:gd name="connsiteX7" fmla="*/ 51241 w 4768656"/>
              <a:gd name="connsiteY7" fmla="*/ 0 h 135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68656" h="135464">
                <a:moveTo>
                  <a:pt x="51241" y="0"/>
                </a:moveTo>
                <a:lnTo>
                  <a:pt x="4768656" y="0"/>
                </a:lnTo>
                <a:lnTo>
                  <a:pt x="4768656" y="118988"/>
                </a:lnTo>
                <a:lnTo>
                  <a:pt x="4734883" y="129472"/>
                </a:lnTo>
                <a:lnTo>
                  <a:pt x="4723843" y="135464"/>
                </a:lnTo>
                <a:lnTo>
                  <a:pt x="4722718" y="135379"/>
                </a:lnTo>
                <a:cubicBezTo>
                  <a:pt x="4130829" y="94844"/>
                  <a:pt x="3313142" y="69773"/>
                  <a:pt x="2409950" y="69773"/>
                </a:cubicBezTo>
                <a:cubicBezTo>
                  <a:pt x="1631370" y="47210"/>
                  <a:pt x="-341877" y="11629"/>
                  <a:pt x="5124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dist="63500" dir="5400000" algn="t" rotWithShape="0">
              <a:schemeClr val="accent3">
                <a:alpha val="3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16" rIns="91416" rtlCol="0" anchor="ctr">
            <a:noAutofit/>
          </a:bodyPr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84" name="Rectangle: Rounded Corners 74">
            <a:extLst>
              <a:ext uri="{FF2B5EF4-FFF2-40B4-BE49-F238E27FC236}">
                <a16:creationId xmlns:a16="http://schemas.microsoft.com/office/drawing/2014/main" id="{8D2CA0EE-F87A-6AAE-CCD0-223187080C38}"/>
              </a:ext>
            </a:extLst>
          </p:cNvPr>
          <p:cNvSpPr/>
          <p:nvPr/>
        </p:nvSpPr>
        <p:spPr>
          <a:xfrm>
            <a:off x="786119" y="3976580"/>
            <a:ext cx="4475962" cy="388470"/>
          </a:xfrm>
          <a:prstGeom prst="roundRect">
            <a:avLst>
              <a:gd name="adj" fmla="val 20111"/>
            </a:avLst>
          </a:prstGeom>
          <a:blipFill dpi="0" rotWithShape="1">
            <a:blip r:embed="rId6" cstate="email">
              <a:alphaModFix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IN Next LT Arabic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86" name="Trapezoid 185">
            <a:extLst>
              <a:ext uri="{FF2B5EF4-FFF2-40B4-BE49-F238E27FC236}">
                <a16:creationId xmlns:a16="http://schemas.microsoft.com/office/drawing/2014/main" id="{B6727B6B-9D7A-3B81-CC77-59D65A63653A}"/>
              </a:ext>
            </a:extLst>
          </p:cNvPr>
          <p:cNvSpPr/>
          <p:nvPr/>
        </p:nvSpPr>
        <p:spPr>
          <a:xfrm rot="10800000" flipV="1">
            <a:off x="3126974" y="3889613"/>
            <a:ext cx="2116645" cy="51665"/>
          </a:xfrm>
          <a:prstGeom prst="trapezoid">
            <a:avLst>
              <a:gd name="adj" fmla="val 86605"/>
            </a:avLst>
          </a:prstGeom>
          <a:solidFill>
            <a:srgbClr val="203764"/>
          </a:solidFill>
          <a:ln w="12700">
            <a:noFill/>
          </a:ln>
          <a:effectLst>
            <a:outerShdw blurRad="50800" dist="38100" dir="16200000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87" name="Round Same Side Corner Rectangle 153">
            <a:extLst>
              <a:ext uri="{FF2B5EF4-FFF2-40B4-BE49-F238E27FC236}">
                <a16:creationId xmlns:a16="http://schemas.microsoft.com/office/drawing/2014/main" id="{EABCBE76-96AC-3CC8-2824-0FE0CAC649F3}"/>
              </a:ext>
            </a:extLst>
          </p:cNvPr>
          <p:cNvSpPr/>
          <p:nvPr/>
        </p:nvSpPr>
        <p:spPr>
          <a:xfrm flipV="1">
            <a:off x="3236125" y="3887381"/>
            <a:ext cx="1905586" cy="17367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203764"/>
          </a:solidFill>
          <a:ln w="12700">
            <a:noFill/>
          </a:ln>
          <a:effectLst>
            <a:outerShdw blurRad="102542" dist="38100" dir="5400000" algn="t" rotWithShape="0">
              <a:prstClr val="black">
                <a:alpha val="2177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B9D7E31C-19E3-A444-DB29-B1273FD3F8D7}"/>
              </a:ext>
            </a:extLst>
          </p:cNvPr>
          <p:cNvSpPr/>
          <p:nvPr/>
        </p:nvSpPr>
        <p:spPr>
          <a:xfrm>
            <a:off x="3471407" y="3876552"/>
            <a:ext cx="152017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7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mohammad bold art 1" pitchFamily="2" charset="-78"/>
                <a:sym typeface="Arial"/>
              </a:rPr>
              <a:t>اسم صفحة الخصوصية</a:t>
            </a:r>
            <a:endParaRPr kumimoji="0" lang="en-US" sz="7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89" name="Freeform: Shape 102">
            <a:extLst>
              <a:ext uri="{FF2B5EF4-FFF2-40B4-BE49-F238E27FC236}">
                <a16:creationId xmlns:a16="http://schemas.microsoft.com/office/drawing/2014/main" id="{C8F055A3-C402-2CE3-2E33-8B13319CBC7B}"/>
              </a:ext>
            </a:extLst>
          </p:cNvPr>
          <p:cNvSpPr/>
          <p:nvPr/>
        </p:nvSpPr>
        <p:spPr>
          <a:xfrm>
            <a:off x="4324354" y="4821099"/>
            <a:ext cx="884238" cy="18036"/>
          </a:xfrm>
          <a:custGeom>
            <a:avLst/>
            <a:gdLst>
              <a:gd name="connsiteX0" fmla="*/ 51241 w 4768656"/>
              <a:gd name="connsiteY0" fmla="*/ 0 h 135464"/>
              <a:gd name="connsiteX1" fmla="*/ 4768656 w 4768656"/>
              <a:gd name="connsiteY1" fmla="*/ 0 h 135464"/>
              <a:gd name="connsiteX2" fmla="*/ 4768656 w 4768656"/>
              <a:gd name="connsiteY2" fmla="*/ 118988 h 135464"/>
              <a:gd name="connsiteX3" fmla="*/ 4734883 w 4768656"/>
              <a:gd name="connsiteY3" fmla="*/ 129472 h 135464"/>
              <a:gd name="connsiteX4" fmla="*/ 4723843 w 4768656"/>
              <a:gd name="connsiteY4" fmla="*/ 135464 h 135464"/>
              <a:gd name="connsiteX5" fmla="*/ 4722718 w 4768656"/>
              <a:gd name="connsiteY5" fmla="*/ 135379 h 135464"/>
              <a:gd name="connsiteX6" fmla="*/ 2409950 w 4768656"/>
              <a:gd name="connsiteY6" fmla="*/ 69773 h 135464"/>
              <a:gd name="connsiteX7" fmla="*/ 51241 w 4768656"/>
              <a:gd name="connsiteY7" fmla="*/ 0 h 135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68656" h="135464">
                <a:moveTo>
                  <a:pt x="51241" y="0"/>
                </a:moveTo>
                <a:lnTo>
                  <a:pt x="4768656" y="0"/>
                </a:lnTo>
                <a:lnTo>
                  <a:pt x="4768656" y="118988"/>
                </a:lnTo>
                <a:lnTo>
                  <a:pt x="4734883" y="129472"/>
                </a:lnTo>
                <a:lnTo>
                  <a:pt x="4723843" y="135464"/>
                </a:lnTo>
                <a:lnTo>
                  <a:pt x="4722718" y="135379"/>
                </a:lnTo>
                <a:cubicBezTo>
                  <a:pt x="4130829" y="94844"/>
                  <a:pt x="3313142" y="69773"/>
                  <a:pt x="2409950" y="69773"/>
                </a:cubicBezTo>
                <a:cubicBezTo>
                  <a:pt x="1631370" y="47210"/>
                  <a:pt x="-341877" y="11629"/>
                  <a:pt x="5124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dist="63500" dir="5400000" algn="t" rotWithShape="0">
              <a:schemeClr val="accent3">
                <a:alpha val="3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16" rIns="91416" rtlCol="0" anchor="ctr">
            <a:noAutofit/>
          </a:bodyPr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90" name="Rectangle: Rounded Corners 74">
            <a:extLst>
              <a:ext uri="{FF2B5EF4-FFF2-40B4-BE49-F238E27FC236}">
                <a16:creationId xmlns:a16="http://schemas.microsoft.com/office/drawing/2014/main" id="{BBA13AD3-25C4-DE28-A3C3-A44DEAB15F93}"/>
              </a:ext>
            </a:extLst>
          </p:cNvPr>
          <p:cNvSpPr/>
          <p:nvPr/>
        </p:nvSpPr>
        <p:spPr>
          <a:xfrm>
            <a:off x="796880" y="4565034"/>
            <a:ext cx="4475962" cy="388470"/>
          </a:xfrm>
          <a:prstGeom prst="roundRect">
            <a:avLst>
              <a:gd name="adj" fmla="val 20111"/>
            </a:avLst>
          </a:prstGeom>
          <a:blipFill dpi="0" rotWithShape="1">
            <a:blip r:embed="rId6" cstate="email">
              <a:alphaModFix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IN Next LT Arabic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92" name="Trapezoid 191">
            <a:extLst>
              <a:ext uri="{FF2B5EF4-FFF2-40B4-BE49-F238E27FC236}">
                <a16:creationId xmlns:a16="http://schemas.microsoft.com/office/drawing/2014/main" id="{4BA9EB04-C0D8-C281-7422-10FEE46DF2FC}"/>
              </a:ext>
            </a:extLst>
          </p:cNvPr>
          <p:cNvSpPr/>
          <p:nvPr/>
        </p:nvSpPr>
        <p:spPr>
          <a:xfrm rot="10800000" flipV="1">
            <a:off x="3137735" y="4478067"/>
            <a:ext cx="2116645" cy="51665"/>
          </a:xfrm>
          <a:prstGeom prst="trapezoid">
            <a:avLst>
              <a:gd name="adj" fmla="val 86605"/>
            </a:avLst>
          </a:prstGeom>
          <a:solidFill>
            <a:srgbClr val="203764"/>
          </a:solidFill>
          <a:ln w="12700">
            <a:noFill/>
          </a:ln>
          <a:effectLst>
            <a:outerShdw blurRad="50800" dist="38100" dir="16200000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93" name="Round Same Side Corner Rectangle 153">
            <a:extLst>
              <a:ext uri="{FF2B5EF4-FFF2-40B4-BE49-F238E27FC236}">
                <a16:creationId xmlns:a16="http://schemas.microsoft.com/office/drawing/2014/main" id="{130F31DA-FC2B-5C47-8050-C3BDFC7D34DF}"/>
              </a:ext>
            </a:extLst>
          </p:cNvPr>
          <p:cNvSpPr/>
          <p:nvPr/>
        </p:nvSpPr>
        <p:spPr>
          <a:xfrm flipV="1">
            <a:off x="3246886" y="4475835"/>
            <a:ext cx="1905586" cy="17367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203764"/>
          </a:solidFill>
          <a:ln w="12700">
            <a:noFill/>
          </a:ln>
          <a:effectLst>
            <a:outerShdw blurRad="102542" dist="38100" dir="5400000" algn="t" rotWithShape="0">
              <a:prstClr val="black">
                <a:alpha val="2177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377A17D2-C940-CC77-652C-CD869C13DB8D}"/>
              </a:ext>
            </a:extLst>
          </p:cNvPr>
          <p:cNvSpPr/>
          <p:nvPr/>
        </p:nvSpPr>
        <p:spPr>
          <a:xfrm>
            <a:off x="3482168" y="4465007"/>
            <a:ext cx="152017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7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mohammad bold art 1" pitchFamily="2" charset="-78"/>
                <a:sym typeface="Arial"/>
              </a:rPr>
              <a:t>تاريخ المسح الحالي</a:t>
            </a:r>
            <a:endParaRPr kumimoji="0" lang="en-US" sz="7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95" name="Rectangle: Rounded Corners 74">
            <a:extLst>
              <a:ext uri="{FF2B5EF4-FFF2-40B4-BE49-F238E27FC236}">
                <a16:creationId xmlns:a16="http://schemas.microsoft.com/office/drawing/2014/main" id="{F83492D1-548D-2B7C-2CB3-88D21304540A}"/>
              </a:ext>
            </a:extLst>
          </p:cNvPr>
          <p:cNvSpPr/>
          <p:nvPr/>
        </p:nvSpPr>
        <p:spPr>
          <a:xfrm>
            <a:off x="803933" y="5166340"/>
            <a:ext cx="4475962" cy="388470"/>
          </a:xfrm>
          <a:prstGeom prst="roundRect">
            <a:avLst>
              <a:gd name="adj" fmla="val 20111"/>
            </a:avLst>
          </a:prstGeom>
          <a:blipFill dpi="0" rotWithShape="1">
            <a:blip r:embed="rId6" cstate="email">
              <a:alphaModFix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IN Next LT Arabic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97" name="Trapezoid 196">
            <a:extLst>
              <a:ext uri="{FF2B5EF4-FFF2-40B4-BE49-F238E27FC236}">
                <a16:creationId xmlns:a16="http://schemas.microsoft.com/office/drawing/2014/main" id="{0044A58F-8AFB-B5DB-87D3-A58189E46D01}"/>
              </a:ext>
            </a:extLst>
          </p:cNvPr>
          <p:cNvSpPr/>
          <p:nvPr/>
        </p:nvSpPr>
        <p:spPr>
          <a:xfrm rot="10800000" flipV="1">
            <a:off x="3144787" y="5079373"/>
            <a:ext cx="2116645" cy="51665"/>
          </a:xfrm>
          <a:prstGeom prst="trapezoid">
            <a:avLst>
              <a:gd name="adj" fmla="val 86605"/>
            </a:avLst>
          </a:prstGeom>
          <a:solidFill>
            <a:srgbClr val="203764"/>
          </a:solidFill>
          <a:ln w="12700">
            <a:noFill/>
          </a:ln>
          <a:effectLst>
            <a:outerShdw blurRad="50800" dist="38100" dir="16200000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98" name="Round Same Side Corner Rectangle 153">
            <a:extLst>
              <a:ext uri="{FF2B5EF4-FFF2-40B4-BE49-F238E27FC236}">
                <a16:creationId xmlns:a16="http://schemas.microsoft.com/office/drawing/2014/main" id="{BD9B6361-9F14-F0DC-6092-01FF6218C32E}"/>
              </a:ext>
            </a:extLst>
          </p:cNvPr>
          <p:cNvSpPr/>
          <p:nvPr/>
        </p:nvSpPr>
        <p:spPr>
          <a:xfrm flipV="1">
            <a:off x="3253938" y="5077141"/>
            <a:ext cx="1905586" cy="17367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203764"/>
          </a:solidFill>
          <a:ln w="12700">
            <a:noFill/>
          </a:ln>
          <a:effectLst>
            <a:outerShdw blurRad="102542" dist="38100" dir="5400000" algn="t" rotWithShape="0">
              <a:prstClr val="black">
                <a:alpha val="2177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DCD6AC6C-1FEE-2155-28E7-59EAA6AC8076}"/>
              </a:ext>
            </a:extLst>
          </p:cNvPr>
          <p:cNvSpPr/>
          <p:nvPr/>
        </p:nvSpPr>
        <p:spPr>
          <a:xfrm>
            <a:off x="3489220" y="5066313"/>
            <a:ext cx="152017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7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mohammad bold art 1" pitchFamily="2" charset="-78"/>
                <a:sym typeface="Arial"/>
              </a:rPr>
              <a:t>تاريخ المسح السابق</a:t>
            </a:r>
            <a:endParaRPr kumimoji="0" lang="en-US" sz="7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29642DD9-522C-862F-CA5C-0BD67453A5CC}"/>
              </a:ext>
            </a:extLst>
          </p:cNvPr>
          <p:cNvSpPr txBox="1"/>
          <p:nvPr/>
        </p:nvSpPr>
        <p:spPr>
          <a:xfrm>
            <a:off x="906780" y="4099776"/>
            <a:ext cx="42207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ar-SA" sz="1000" dirty="0">
                <a:solidFill>
                  <a:srgbClr val="FF0000"/>
                </a:solidFill>
                <a:latin typeface="Century Gothic" panose="020B0502020202020204" pitchFamily="34" charset="0"/>
                <a:cs typeface="mohammad bold art 1" pitchFamily="2" charset="-78"/>
                <a:sym typeface="Arial"/>
              </a:rPr>
              <a:t>13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E88C3586-B44C-6AEC-C81A-D90A6DF4CEBE}"/>
              </a:ext>
            </a:extLst>
          </p:cNvPr>
          <p:cNvSpPr txBox="1"/>
          <p:nvPr/>
        </p:nvSpPr>
        <p:spPr>
          <a:xfrm>
            <a:off x="906780" y="4689797"/>
            <a:ext cx="42207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ar-SA" sz="1000" dirty="0">
                <a:solidFill>
                  <a:srgbClr val="FF0000"/>
                </a:solidFill>
                <a:latin typeface="Century Gothic" panose="020B0502020202020204" pitchFamily="34" charset="0"/>
                <a:cs typeface="mohammad bold art 1" pitchFamily="2" charset="-78"/>
                <a:sym typeface="Arial"/>
              </a:rPr>
              <a:t>14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F97CDBE6-7C0A-E08A-03AD-4569FA8D805C}"/>
              </a:ext>
            </a:extLst>
          </p:cNvPr>
          <p:cNvSpPr txBox="1"/>
          <p:nvPr/>
        </p:nvSpPr>
        <p:spPr>
          <a:xfrm>
            <a:off x="906780" y="5280223"/>
            <a:ext cx="42207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 defTabSz="914172" rtl="1">
              <a:buClr>
                <a:srgbClr val="000000"/>
              </a:buClr>
              <a:defRPr/>
            </a:pPr>
            <a:r>
              <a:rPr lang="ar-SA" sz="1000" dirty="0">
                <a:solidFill>
                  <a:srgbClr val="FF0000"/>
                </a:solidFill>
                <a:latin typeface="Century Gothic" panose="020B0502020202020204" pitchFamily="34" charset="0"/>
                <a:cs typeface="mohammad bold art 1" pitchFamily="2" charset="-78"/>
                <a:sym typeface="Arial"/>
              </a:rPr>
              <a:t>15</a:t>
            </a:r>
          </a:p>
        </p:txBody>
      </p:sp>
      <p:sp>
        <p:nvSpPr>
          <p:cNvPr id="203" name="Rectangle: Rounded Corners 74">
            <a:extLst>
              <a:ext uri="{FF2B5EF4-FFF2-40B4-BE49-F238E27FC236}">
                <a16:creationId xmlns:a16="http://schemas.microsoft.com/office/drawing/2014/main" id="{A3496F17-D5E8-DF8E-6B4D-A6A66D2594EA}"/>
              </a:ext>
            </a:extLst>
          </p:cNvPr>
          <p:cNvSpPr/>
          <p:nvPr/>
        </p:nvSpPr>
        <p:spPr>
          <a:xfrm>
            <a:off x="803933" y="5829781"/>
            <a:ext cx="4475962" cy="388470"/>
          </a:xfrm>
          <a:prstGeom prst="roundRect">
            <a:avLst>
              <a:gd name="adj" fmla="val 20111"/>
            </a:avLst>
          </a:prstGeom>
          <a:blipFill dpi="0" rotWithShape="1">
            <a:blip r:embed="rId6" cstate="email">
              <a:alphaModFix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IN Next LT Arabic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205" name="Trapezoid 204">
            <a:extLst>
              <a:ext uri="{FF2B5EF4-FFF2-40B4-BE49-F238E27FC236}">
                <a16:creationId xmlns:a16="http://schemas.microsoft.com/office/drawing/2014/main" id="{171D8423-9753-AA79-5441-8C80277F70B5}"/>
              </a:ext>
            </a:extLst>
          </p:cNvPr>
          <p:cNvSpPr/>
          <p:nvPr/>
        </p:nvSpPr>
        <p:spPr>
          <a:xfrm rot="10800000" flipV="1">
            <a:off x="3144787" y="5742814"/>
            <a:ext cx="2116645" cy="51665"/>
          </a:xfrm>
          <a:prstGeom prst="trapezoid">
            <a:avLst>
              <a:gd name="adj" fmla="val 86605"/>
            </a:avLst>
          </a:prstGeom>
          <a:solidFill>
            <a:srgbClr val="203764"/>
          </a:solidFill>
          <a:ln w="12700">
            <a:noFill/>
          </a:ln>
          <a:effectLst>
            <a:outerShdw blurRad="50800" dist="38100" dir="16200000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206" name="Round Same Side Corner Rectangle 153">
            <a:extLst>
              <a:ext uri="{FF2B5EF4-FFF2-40B4-BE49-F238E27FC236}">
                <a16:creationId xmlns:a16="http://schemas.microsoft.com/office/drawing/2014/main" id="{F2B725AF-C4BA-D9FC-4234-C85C4F7CD83B}"/>
              </a:ext>
            </a:extLst>
          </p:cNvPr>
          <p:cNvSpPr/>
          <p:nvPr/>
        </p:nvSpPr>
        <p:spPr>
          <a:xfrm flipV="1">
            <a:off x="3253938" y="5740582"/>
            <a:ext cx="1905586" cy="17367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203764"/>
          </a:solidFill>
          <a:ln w="12700">
            <a:noFill/>
          </a:ln>
          <a:effectLst>
            <a:outerShdw blurRad="102542" dist="38100" dir="5400000" algn="t" rotWithShape="0">
              <a:prstClr val="black">
                <a:alpha val="2177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B28C4979-67CB-7E39-9D35-EF596C2631D9}"/>
              </a:ext>
            </a:extLst>
          </p:cNvPr>
          <p:cNvSpPr/>
          <p:nvPr/>
        </p:nvSpPr>
        <p:spPr>
          <a:xfrm>
            <a:off x="3489220" y="5729754"/>
            <a:ext cx="1520178" cy="2000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7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mohammad bold art 1" pitchFamily="2" charset="-78"/>
                <a:sym typeface="Arial"/>
              </a:rPr>
              <a:t>مستوى الامتثال في المسح السابق</a:t>
            </a:r>
            <a:endParaRPr kumimoji="0" lang="en-US" sz="7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2CDEC367-351B-624C-4330-FFB0BBD6AA20}"/>
              </a:ext>
            </a:extLst>
          </p:cNvPr>
          <p:cNvSpPr txBox="1"/>
          <p:nvPr/>
        </p:nvSpPr>
        <p:spPr>
          <a:xfrm>
            <a:off x="1065680" y="5943664"/>
            <a:ext cx="40618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ar-SA" sz="1000" dirty="0">
                <a:solidFill>
                  <a:srgbClr val="FF0000"/>
                </a:solidFill>
                <a:latin typeface="Century Gothic" panose="020B0502020202020204" pitchFamily="34" charset="0"/>
                <a:cs typeface="mohammad bold art 1" pitchFamily="2" charset="-78"/>
                <a:sym typeface="Arial"/>
              </a:rPr>
              <a:t>16</a:t>
            </a:r>
          </a:p>
        </p:txBody>
      </p:sp>
      <p:sp>
        <p:nvSpPr>
          <p:cNvPr id="209" name="Скругленный прямоугольник 11">
            <a:extLst>
              <a:ext uri="{FF2B5EF4-FFF2-40B4-BE49-F238E27FC236}">
                <a16:creationId xmlns:a16="http://schemas.microsoft.com/office/drawing/2014/main" id="{63AD6EF5-B79D-1A7C-5700-70BA0197CCDB}"/>
              </a:ext>
            </a:extLst>
          </p:cNvPr>
          <p:cNvSpPr/>
          <p:nvPr/>
        </p:nvSpPr>
        <p:spPr bwMode="auto">
          <a:xfrm>
            <a:off x="9717118" y="3264194"/>
            <a:ext cx="1520179" cy="306535"/>
          </a:xfrm>
          <a:prstGeom prst="roundRect">
            <a:avLst>
              <a:gd name="adj" fmla="val 0"/>
            </a:avLst>
          </a:prstGeom>
          <a:solidFill>
            <a:srgbClr val="203764"/>
          </a:solidFill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38080" tIns="38080" rIns="38080" bIns="3808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457086" marR="0" lvl="0" indent="0" algn="r" defTabSz="1218865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100" b="0" i="0" u="none" strike="noStrike" kern="0" cap="none" spc="-10" normalizeH="0" baseline="0" noProof="0" dirty="0">
                <a:ln>
                  <a:noFill/>
                </a:ln>
                <a:solidFill>
                  <a:srgbClr val="CEEAB0"/>
                </a:solidFill>
                <a:effectLst/>
                <a:uLnTx/>
                <a:uFillTx/>
                <a:latin typeface="Calibri"/>
                <a:ea typeface="+mn-ea"/>
                <a:cs typeface="mohammad bold art 1" pitchFamily="2" charset="-78"/>
                <a:sym typeface="Arial"/>
              </a:rPr>
              <a:t>المرئيات</a:t>
            </a:r>
            <a:endParaRPr kumimoji="0" lang="ar-SA" sz="1400" b="0" i="0" u="none" strike="noStrike" kern="0" cap="none" spc="-1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210" name="Скругленный прямоугольник 11">
            <a:extLst>
              <a:ext uri="{FF2B5EF4-FFF2-40B4-BE49-F238E27FC236}">
                <a16:creationId xmlns:a16="http://schemas.microsoft.com/office/drawing/2014/main" id="{2703D6BD-1A9F-8FC4-AC8C-C1D50C96B9C8}"/>
              </a:ext>
            </a:extLst>
          </p:cNvPr>
          <p:cNvSpPr/>
          <p:nvPr/>
        </p:nvSpPr>
        <p:spPr bwMode="auto">
          <a:xfrm>
            <a:off x="3808282" y="3251842"/>
            <a:ext cx="1520178" cy="306535"/>
          </a:xfrm>
          <a:prstGeom prst="roundRect">
            <a:avLst>
              <a:gd name="adj" fmla="val 0"/>
            </a:avLst>
          </a:prstGeom>
          <a:solidFill>
            <a:srgbClr val="203764"/>
          </a:solidFill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38080" tIns="38080" rIns="38080" bIns="3808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457086" algn="r" defTabSz="1218865" rtl="1">
              <a:defRPr/>
            </a:pPr>
            <a:r>
              <a:rPr kumimoji="0" lang="ar-SA" sz="1100" i="0" u="none" strike="noStrike" kern="0" cap="none" spc="-1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mohammad bold art 1" pitchFamily="2" charset="-78"/>
                <a:sym typeface="Arial"/>
              </a:rPr>
              <a:t>الإحصائيات</a:t>
            </a:r>
            <a:endParaRPr kumimoji="0" lang="ar-SA" sz="1200" i="0" u="none" strike="noStrike" kern="0" cap="none" spc="-1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65E9FD20-D7D9-FDA1-9D99-37310ED60C80}"/>
              </a:ext>
            </a:extLst>
          </p:cNvPr>
          <p:cNvSpPr txBox="1"/>
          <p:nvPr/>
        </p:nvSpPr>
        <p:spPr>
          <a:xfrm>
            <a:off x="6482686" y="482890"/>
            <a:ext cx="42524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SA" sz="1400" b="1" kern="0" spc="-10" dirty="0">
                <a:solidFill>
                  <a:schemeClr val="bg1"/>
                </a:solidFill>
                <a:latin typeface="Calibri"/>
                <a:cs typeface="mohammad bold art 1" pitchFamily="2" charset="-78"/>
                <a:sym typeface="Arial"/>
              </a:rPr>
              <a:t>17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048F029-B273-25FE-56D4-EDE378B14F59}"/>
              </a:ext>
            </a:extLst>
          </p:cNvPr>
          <p:cNvSpPr txBox="1"/>
          <p:nvPr/>
        </p:nvSpPr>
        <p:spPr>
          <a:xfrm>
            <a:off x="4564884" y="404256"/>
            <a:ext cx="1531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200" b="0" i="0" u="none" strike="noStrike" kern="1200" cap="none" spc="4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mohammad bold art 1" pitchFamily="2" charset="-78"/>
              </a:rPr>
              <a:t>مستوى الامتثال</a:t>
            </a:r>
            <a:endParaRPr kumimoji="0" lang="en-GB" sz="1050" b="0" i="0" u="none" strike="noStrike" kern="1200" cap="none" spc="4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mohammad bold art 1" pitchFamily="2" charset="-78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5FBA144-C544-ACA8-801B-EB6B8A560205}"/>
              </a:ext>
            </a:extLst>
          </p:cNvPr>
          <p:cNvSpPr txBox="1"/>
          <p:nvPr/>
        </p:nvSpPr>
        <p:spPr>
          <a:xfrm>
            <a:off x="4567126" y="822379"/>
            <a:ext cx="1531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4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mohammad bold art 1" pitchFamily="2" charset="-78"/>
              </a:rPr>
              <a:t>00</a:t>
            </a:r>
            <a:endParaRPr kumimoji="0" lang="en-GB" sz="1050" b="1" i="0" u="none" strike="noStrike" kern="1200" cap="none" spc="4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mohammad bold art 1" pitchFamily="2" charset="-78"/>
            </a:endParaRPr>
          </a:p>
        </p:txBody>
      </p:sp>
      <p:sp>
        <p:nvSpPr>
          <p:cNvPr id="5" name="Rectangle: Rounded Corners 74">
            <a:extLst>
              <a:ext uri="{FF2B5EF4-FFF2-40B4-BE49-F238E27FC236}">
                <a16:creationId xmlns:a16="http://schemas.microsoft.com/office/drawing/2014/main" id="{8DD93A78-CA32-CE5A-4284-ABB91E8F5C38}"/>
              </a:ext>
            </a:extLst>
          </p:cNvPr>
          <p:cNvSpPr/>
          <p:nvPr/>
        </p:nvSpPr>
        <p:spPr>
          <a:xfrm>
            <a:off x="10671207" y="2007846"/>
            <a:ext cx="975206" cy="274101"/>
          </a:xfrm>
          <a:prstGeom prst="roundRect">
            <a:avLst>
              <a:gd name="adj" fmla="val 20111"/>
            </a:avLst>
          </a:prstGeom>
          <a:blipFill dpi="0" rotWithShape="1">
            <a:blip r:embed="rId4" cstate="email">
              <a:alphaModFix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IN Next LT Arabic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872372-58BB-CA4B-E802-774C2A1F802D}"/>
              </a:ext>
            </a:extLst>
          </p:cNvPr>
          <p:cNvSpPr txBox="1"/>
          <p:nvPr/>
        </p:nvSpPr>
        <p:spPr>
          <a:xfrm>
            <a:off x="10668221" y="2015711"/>
            <a:ext cx="89970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13" name="Rectangle: Rounded Corners 74">
            <a:extLst>
              <a:ext uri="{FF2B5EF4-FFF2-40B4-BE49-F238E27FC236}">
                <a16:creationId xmlns:a16="http://schemas.microsoft.com/office/drawing/2014/main" id="{C7D84098-5F25-B73D-B89B-C3BEF4329D55}"/>
              </a:ext>
            </a:extLst>
          </p:cNvPr>
          <p:cNvSpPr/>
          <p:nvPr/>
        </p:nvSpPr>
        <p:spPr>
          <a:xfrm>
            <a:off x="9172539" y="2014872"/>
            <a:ext cx="975206" cy="274101"/>
          </a:xfrm>
          <a:prstGeom prst="roundRect">
            <a:avLst>
              <a:gd name="adj" fmla="val 20111"/>
            </a:avLst>
          </a:prstGeom>
          <a:blipFill dpi="0" rotWithShape="1">
            <a:blip r:embed="rId4" cstate="email">
              <a:alphaModFix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IN Next LT Arabic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508DF31-6E25-0699-57BD-8AF6D2F36806}"/>
              </a:ext>
            </a:extLst>
          </p:cNvPr>
          <p:cNvSpPr txBox="1"/>
          <p:nvPr/>
        </p:nvSpPr>
        <p:spPr>
          <a:xfrm>
            <a:off x="9169553" y="2022737"/>
            <a:ext cx="89970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20" name="Rectangle: Rounded Corners 74">
            <a:extLst>
              <a:ext uri="{FF2B5EF4-FFF2-40B4-BE49-F238E27FC236}">
                <a16:creationId xmlns:a16="http://schemas.microsoft.com/office/drawing/2014/main" id="{9EEFBF1D-B3DD-9659-DD55-D9BB3810FEA2}"/>
              </a:ext>
            </a:extLst>
          </p:cNvPr>
          <p:cNvSpPr/>
          <p:nvPr/>
        </p:nvSpPr>
        <p:spPr>
          <a:xfrm>
            <a:off x="7753792" y="2007361"/>
            <a:ext cx="975206" cy="274101"/>
          </a:xfrm>
          <a:prstGeom prst="roundRect">
            <a:avLst>
              <a:gd name="adj" fmla="val 20111"/>
            </a:avLst>
          </a:prstGeom>
          <a:blipFill dpi="0" rotWithShape="1">
            <a:blip r:embed="rId4" cstate="email">
              <a:alphaModFix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IN Next LT Arabic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4391E0E-E94A-5B90-9D3E-3F6B84D3706E}"/>
              </a:ext>
            </a:extLst>
          </p:cNvPr>
          <p:cNvSpPr txBox="1"/>
          <p:nvPr/>
        </p:nvSpPr>
        <p:spPr>
          <a:xfrm>
            <a:off x="7750806" y="2015226"/>
            <a:ext cx="89970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26" name="Rectangle: Rounded Corners 74">
            <a:extLst>
              <a:ext uri="{FF2B5EF4-FFF2-40B4-BE49-F238E27FC236}">
                <a16:creationId xmlns:a16="http://schemas.microsoft.com/office/drawing/2014/main" id="{6C086D61-7630-C852-AF23-2D2BDA3A3FF7}"/>
              </a:ext>
            </a:extLst>
          </p:cNvPr>
          <p:cNvSpPr/>
          <p:nvPr/>
        </p:nvSpPr>
        <p:spPr>
          <a:xfrm>
            <a:off x="6391808" y="2004811"/>
            <a:ext cx="975206" cy="274101"/>
          </a:xfrm>
          <a:prstGeom prst="roundRect">
            <a:avLst>
              <a:gd name="adj" fmla="val 20111"/>
            </a:avLst>
          </a:prstGeom>
          <a:blipFill dpi="0" rotWithShape="1">
            <a:blip r:embed="rId4" cstate="email">
              <a:alphaModFix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IN Next LT Arabic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AA69BB7-74B0-8602-3316-FF8DE34007D5}"/>
              </a:ext>
            </a:extLst>
          </p:cNvPr>
          <p:cNvSpPr txBox="1"/>
          <p:nvPr/>
        </p:nvSpPr>
        <p:spPr>
          <a:xfrm>
            <a:off x="6388822" y="2012676"/>
            <a:ext cx="89970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29" name="Rectangle: Rounded Corners 74">
            <a:extLst>
              <a:ext uri="{FF2B5EF4-FFF2-40B4-BE49-F238E27FC236}">
                <a16:creationId xmlns:a16="http://schemas.microsoft.com/office/drawing/2014/main" id="{B94A0F51-3445-DE4A-CD31-872378DD136A}"/>
              </a:ext>
            </a:extLst>
          </p:cNvPr>
          <p:cNvSpPr/>
          <p:nvPr/>
        </p:nvSpPr>
        <p:spPr>
          <a:xfrm>
            <a:off x="4893140" y="2011837"/>
            <a:ext cx="975206" cy="274101"/>
          </a:xfrm>
          <a:prstGeom prst="roundRect">
            <a:avLst>
              <a:gd name="adj" fmla="val 20111"/>
            </a:avLst>
          </a:prstGeom>
          <a:blipFill dpi="0" rotWithShape="1">
            <a:blip r:embed="rId4" cstate="email">
              <a:alphaModFix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IN Next LT Arabic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01401D3-8E2D-8298-7B91-BF0EFCE067FD}"/>
              </a:ext>
            </a:extLst>
          </p:cNvPr>
          <p:cNvSpPr txBox="1"/>
          <p:nvPr/>
        </p:nvSpPr>
        <p:spPr>
          <a:xfrm>
            <a:off x="4890154" y="2019702"/>
            <a:ext cx="89970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sp>
        <p:nvSpPr>
          <p:cNvPr id="31" name="Rectangle: Rounded Corners 74">
            <a:extLst>
              <a:ext uri="{FF2B5EF4-FFF2-40B4-BE49-F238E27FC236}">
                <a16:creationId xmlns:a16="http://schemas.microsoft.com/office/drawing/2014/main" id="{A3FCA21E-BD07-ADBD-26CC-F86337214F7F}"/>
              </a:ext>
            </a:extLst>
          </p:cNvPr>
          <p:cNvSpPr/>
          <p:nvPr/>
        </p:nvSpPr>
        <p:spPr>
          <a:xfrm>
            <a:off x="3474393" y="2004326"/>
            <a:ext cx="975206" cy="274101"/>
          </a:xfrm>
          <a:prstGeom prst="roundRect">
            <a:avLst>
              <a:gd name="adj" fmla="val 20111"/>
            </a:avLst>
          </a:prstGeom>
          <a:blipFill dpi="0" rotWithShape="1">
            <a:blip r:embed="rId4" cstate="email">
              <a:alphaModFix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IN Next LT Arabic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5384E90-DCD2-201F-86B3-B2427E1CF015}"/>
              </a:ext>
            </a:extLst>
          </p:cNvPr>
          <p:cNvSpPr txBox="1"/>
          <p:nvPr/>
        </p:nvSpPr>
        <p:spPr>
          <a:xfrm>
            <a:off x="3471407" y="2012191"/>
            <a:ext cx="89970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</a:t>
            </a:r>
          </a:p>
        </p:txBody>
      </p:sp>
      <p:sp>
        <p:nvSpPr>
          <p:cNvPr id="33" name="Rectangle: Rounded Corners 74">
            <a:extLst>
              <a:ext uri="{FF2B5EF4-FFF2-40B4-BE49-F238E27FC236}">
                <a16:creationId xmlns:a16="http://schemas.microsoft.com/office/drawing/2014/main" id="{A46F7216-3781-2C03-277E-925DA9608770}"/>
              </a:ext>
            </a:extLst>
          </p:cNvPr>
          <p:cNvSpPr/>
          <p:nvPr/>
        </p:nvSpPr>
        <p:spPr>
          <a:xfrm>
            <a:off x="2023917" y="2036199"/>
            <a:ext cx="975206" cy="274101"/>
          </a:xfrm>
          <a:prstGeom prst="roundRect">
            <a:avLst>
              <a:gd name="adj" fmla="val 20111"/>
            </a:avLst>
          </a:prstGeom>
          <a:blipFill dpi="0" rotWithShape="1">
            <a:blip r:embed="rId4" cstate="email">
              <a:alphaModFix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IN Next LT Arabic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D26F4B8-EF48-3954-E51E-AF92EF6F6744}"/>
              </a:ext>
            </a:extLst>
          </p:cNvPr>
          <p:cNvSpPr txBox="1"/>
          <p:nvPr/>
        </p:nvSpPr>
        <p:spPr>
          <a:xfrm>
            <a:off x="2020931" y="2044064"/>
            <a:ext cx="89970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</a:p>
        </p:txBody>
      </p:sp>
      <p:sp>
        <p:nvSpPr>
          <p:cNvPr id="35" name="Rectangle: Rounded Corners 74">
            <a:extLst>
              <a:ext uri="{FF2B5EF4-FFF2-40B4-BE49-F238E27FC236}">
                <a16:creationId xmlns:a16="http://schemas.microsoft.com/office/drawing/2014/main" id="{45A02C96-B413-2387-01AB-2772045DD5BC}"/>
              </a:ext>
            </a:extLst>
          </p:cNvPr>
          <p:cNvSpPr/>
          <p:nvPr/>
        </p:nvSpPr>
        <p:spPr>
          <a:xfrm>
            <a:off x="605170" y="2028688"/>
            <a:ext cx="975206" cy="274101"/>
          </a:xfrm>
          <a:prstGeom prst="roundRect">
            <a:avLst>
              <a:gd name="adj" fmla="val 20111"/>
            </a:avLst>
          </a:prstGeom>
          <a:blipFill dpi="0" rotWithShape="1">
            <a:blip r:embed="rId4" cstate="email">
              <a:alphaModFix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17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IN Next LT Arabic"/>
              <a:ea typeface="+mn-ea"/>
              <a:cs typeface="mohammad bold art 1" pitchFamily="2" charset="-78"/>
              <a:sym typeface="Arial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79AA398-A8F9-7F88-7882-B51D8729FC93}"/>
              </a:ext>
            </a:extLst>
          </p:cNvPr>
          <p:cNvSpPr txBox="1"/>
          <p:nvPr/>
        </p:nvSpPr>
        <p:spPr>
          <a:xfrm>
            <a:off x="602184" y="2036553"/>
            <a:ext cx="89970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1845074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11_Main Master_NDMO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8EAADB"/>
      </a:accent2>
      <a:accent3>
        <a:srgbClr val="2F5496"/>
      </a:accent3>
      <a:accent4>
        <a:srgbClr val="1F3864"/>
      </a:accent4>
      <a:accent5>
        <a:srgbClr val="D8D8D8"/>
      </a:accent5>
      <a:accent6>
        <a:srgbClr val="BFBFBF"/>
      </a:accent6>
      <a:hlink>
        <a:srgbClr val="1F3864"/>
      </a:hlink>
      <a:folHlink>
        <a:srgbClr val="1F386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8</TotalTime>
  <Words>100</Words>
  <Application>Microsoft Office PowerPoint</Application>
  <PresentationFormat>Widescreen</PresentationFormat>
  <Paragraphs>4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l-Mohanad Bold</vt:lpstr>
      <vt:lpstr>Aptos</vt:lpstr>
      <vt:lpstr>Arial</vt:lpstr>
      <vt:lpstr>Calibri</vt:lpstr>
      <vt:lpstr>Century Gothic</vt:lpstr>
      <vt:lpstr>DIN Next LT Arabic</vt:lpstr>
      <vt:lpstr>HelveticaNeueLT Arabic 55 Roman</vt:lpstr>
      <vt:lpstr>Poppins</vt:lpstr>
      <vt:lpstr>11_Main Master_NDMO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uhammed ALRuhaily</dc:creator>
  <cp:lastModifiedBy>Muhammed ALRuhaily</cp:lastModifiedBy>
  <cp:revision>12</cp:revision>
  <dcterms:created xsi:type="dcterms:W3CDTF">2025-05-31T09:13:31Z</dcterms:created>
  <dcterms:modified xsi:type="dcterms:W3CDTF">2025-06-14T18:10:32Z</dcterms:modified>
</cp:coreProperties>
</file>